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sldIdLst>
    <p:sldId id="3244" r:id="rId2"/>
    <p:sldId id="3243" r:id="rId3"/>
    <p:sldId id="415" r:id="rId4"/>
    <p:sldId id="417" r:id="rId5"/>
    <p:sldId id="3240" r:id="rId6"/>
    <p:sldId id="406" r:id="rId7"/>
    <p:sldId id="3241" r:id="rId8"/>
    <p:sldId id="3239" r:id="rId9"/>
    <p:sldId id="3245" r:id="rId10"/>
    <p:sldId id="412" r:id="rId11"/>
    <p:sldId id="3222" r:id="rId12"/>
  </p:sldIdLst>
  <p:sldSz cx="12192000" cy="6858000"/>
  <p:notesSz cx="6797675" cy="9872663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36C1515-FC42-4B4C-99FF-66400CEE542A}">
          <p14:sldIdLst>
            <p14:sldId id="3244"/>
            <p14:sldId id="3243"/>
            <p14:sldId id="415"/>
            <p14:sldId id="417"/>
            <p14:sldId id="3240"/>
            <p14:sldId id="406"/>
            <p14:sldId id="3241"/>
            <p14:sldId id="3239"/>
            <p14:sldId id="3245"/>
            <p14:sldId id="412"/>
            <p14:sldId id="32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Резеда Несынова" initials="РН" lastIdx="14" clrIdx="0">
    <p:extLst>
      <p:ext uri="{19B8F6BF-5375-455C-9EA6-DF929625EA0E}">
        <p15:presenceInfo xmlns:p15="http://schemas.microsoft.com/office/powerpoint/2012/main" userId="fd0a5baec7a3fb68" providerId="Windows Live"/>
      </p:ext>
    </p:extLst>
  </p:cmAuthor>
  <p:cmAuthor id="2" name="Дмитрий Лапин" initials="ДЛ" lastIdx="1" clrIdx="1">
    <p:extLst>
      <p:ext uri="{19B8F6BF-5375-455C-9EA6-DF929625EA0E}">
        <p15:presenceInfo xmlns:p15="http://schemas.microsoft.com/office/powerpoint/2012/main" userId="Дмитрий Лапин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FC000"/>
    <a:srgbClr val="00843C"/>
    <a:srgbClr val="259EC5"/>
    <a:srgbClr val="4472C4"/>
    <a:srgbClr val="00B050"/>
    <a:srgbClr val="F9CCAD"/>
    <a:srgbClr val="EBEBEB"/>
    <a:srgbClr val="4372C4"/>
    <a:srgbClr val="11BD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16" autoAdjust="0"/>
    <p:restoredTop sz="95741" autoAdjust="0"/>
  </p:normalViewPr>
  <p:slideViewPr>
    <p:cSldViewPr snapToGrid="0">
      <p:cViewPr varScale="1">
        <p:scale>
          <a:sx n="104" d="100"/>
          <a:sy n="104" d="100"/>
        </p:scale>
        <p:origin x="1016" y="200"/>
      </p:cViewPr>
      <p:guideLst>
        <p:guide orient="horz" pos="2137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79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5298EC0-2AFB-DF4C-A63A-D7FAF43F3F05}" type="doc">
      <dgm:prSet loTypeId="urn:microsoft.com/office/officeart/2005/8/layout/process3" loCatId="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7B02F5ED-9F22-804A-84BD-E707CEC76337}">
      <dgm:prSet phldrT="[Текст]" custT="1"/>
      <dgm:spPr/>
      <dgm:t>
        <a:bodyPr/>
        <a:lstStyle/>
        <a:p>
          <a:r>
            <a:rPr lang="ru-RU" sz="1400" dirty="0">
              <a:latin typeface="Arial" panose="020B0604020202020204" pitchFamily="34" charset="0"/>
              <a:cs typeface="Arial" panose="020B0604020202020204" pitchFamily="34" charset="0"/>
            </a:rPr>
            <a:t>Детектор людей</a:t>
          </a:r>
        </a:p>
      </dgm:t>
    </dgm:pt>
    <dgm:pt modelId="{96E01425-783D-A84C-98CC-816CD46B03A7}" type="parTrans" cxnId="{980107F3-7B53-834B-A10A-B22174EAB310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E942DD-8DA8-8843-AE74-C818E027534C}" type="sibTrans" cxnId="{980107F3-7B53-834B-A10A-B22174EAB310}">
      <dgm:prSet custT="1"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14B38B7-5512-1B40-918C-64EDAAA50092}">
      <dgm:prSet phldrT="[Текст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YOLOV5 (L</a:t>
          </a:r>
          <a:r>
            <a:rPr lang="ru-RU" sz="1400" dirty="0">
              <a:latin typeface="Arial" panose="020B0604020202020204" pitchFamily="34" charset="0"/>
              <a:cs typeface="Arial" panose="020B0604020202020204" pitchFamily="34" charset="0"/>
            </a:rPr>
            <a:t>+</a:t>
          </a:r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D2A266-237E-E24C-A18C-DAF2B64C5B3E}" type="parTrans" cxnId="{A55893F5-7940-BF47-8DA4-E024DDDF01B3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D264E4-F1A2-C24D-BA11-2750C468A0E2}" type="sibTrans" cxnId="{A55893F5-7940-BF47-8DA4-E024DDDF01B3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CC92939-FE94-844C-A641-2D803934358A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Трекер людей     в потоке</a:t>
          </a:r>
        </a:p>
      </dgm:t>
    </dgm:pt>
    <dgm:pt modelId="{4FB384FA-7373-A848-8048-9C1C092C10B7}" type="parTrans" cxnId="{E6C0C683-92BA-EE4E-B6B4-7B8460417779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C9263C8-7C24-0141-9618-80F94F17435A}" type="sibTrans" cxnId="{E6C0C683-92BA-EE4E-B6B4-7B8460417779}">
      <dgm:prSet custT="1"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633EFF-5786-F149-B738-423CFEE82D9D}">
      <dgm:prSet phldrT="[Текст]" custT="1"/>
      <dgm:spPr/>
      <dgm:t>
        <a:bodyPr/>
        <a:lstStyle/>
        <a:p>
          <a:r>
            <a:rPr lang="en-US" sz="1400" i="1" dirty="0">
              <a:latin typeface="Arial" panose="020B0604020202020204" pitchFamily="34" charset="0"/>
              <a:cs typeface="Arial" panose="020B0604020202020204" pitchFamily="34" charset="0"/>
            </a:rPr>
            <a:t>DeepSort</a:t>
          </a:r>
          <a:endParaRPr lang="ru-RU" sz="1400" i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6FF9CE-33F2-A34F-96F9-32811F52C54F}" type="parTrans" cxnId="{C2B80FCC-B2EF-1C43-BE97-0B77C275AB87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98F335-C3A1-DB42-AE76-CEA34F496FD0}" type="sibTrans" cxnId="{C2B80FCC-B2EF-1C43-BE97-0B77C275AB87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F910BA1-E18A-1147-9794-E526DDE10A44}">
      <dgm:prSet phldrT="[Текст]" custT="1"/>
      <dgm:spPr/>
      <dgm:t>
        <a:bodyPr/>
        <a:lstStyle/>
        <a:p>
          <a:r>
            <a:rPr lang="ru-RU" sz="1400" dirty="0">
              <a:latin typeface="Arial" panose="020B0604020202020204" pitchFamily="34" charset="0"/>
              <a:cs typeface="Arial" panose="020B0604020202020204" pitchFamily="34" charset="0"/>
            </a:rPr>
            <a:t>Трешхолд тончайший</a:t>
          </a:r>
        </a:p>
      </dgm:t>
    </dgm:pt>
    <dgm:pt modelId="{B36C321A-B79E-F044-AEAA-A8DF3E841C2F}" type="parTrans" cxnId="{E6F3FB7E-F6E6-E946-AA82-EDE153FB5B65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C8C68B-BDA1-7A41-91A9-018F1AE63C42}" type="sibTrans" cxnId="{E6F3FB7E-F6E6-E946-AA82-EDE153FB5B65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B29A9BB-5307-FB43-BDE1-5C2189E0F06E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Классификация</a:t>
          </a:r>
        </a:p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СИЗ</a:t>
          </a:r>
        </a:p>
      </dgm:t>
    </dgm:pt>
    <dgm:pt modelId="{52451D33-61AA-6C4A-9828-3FC4545F0DC9}" type="parTrans" cxnId="{8A20AE53-9C67-8D47-B9C3-2DF65CC9645F}">
      <dgm:prSet/>
      <dgm:spPr/>
      <dgm:t>
        <a:bodyPr/>
        <a:lstStyle/>
        <a:p>
          <a:endParaRPr lang="ru-RU" sz="1600"/>
        </a:p>
      </dgm:t>
    </dgm:pt>
    <dgm:pt modelId="{55B50D56-1FD1-074C-AB46-0E654426F279}" type="sibTrans" cxnId="{8A20AE53-9C67-8D47-B9C3-2DF65CC9645F}">
      <dgm:prSet custT="1"/>
      <dgm:spPr/>
      <dgm:t>
        <a:bodyPr/>
        <a:lstStyle/>
        <a:p>
          <a:endParaRPr lang="ru-RU" sz="300"/>
        </a:p>
      </dgm:t>
    </dgm:pt>
    <dgm:pt modelId="{85EC00ED-1CC5-B446-AF0E-7E46AF12746C}">
      <dgm:prSet phldrT="[Текст]" custT="1"/>
      <dgm:spPr/>
      <dgm:t>
        <a:bodyPr/>
        <a:lstStyle/>
        <a:p>
          <a:r>
            <a:rPr lang="en-US" sz="1400" i="1" dirty="0">
              <a:latin typeface="Arial" panose="020B0604020202020204" pitchFamily="34" charset="0"/>
              <a:cs typeface="Arial" panose="020B0604020202020204" pitchFamily="34" charset="0"/>
            </a:rPr>
            <a:t>MobileNetV3</a:t>
          </a:r>
          <a:endParaRPr lang="ru-RU" sz="1400" i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F08BA5-9B52-2345-8F63-DD911F956CD4}" type="parTrans" cxnId="{B9A37D80-9FDF-504A-BC1E-48B375FFC9D3}">
      <dgm:prSet/>
      <dgm:spPr/>
      <dgm:t>
        <a:bodyPr/>
        <a:lstStyle/>
        <a:p>
          <a:endParaRPr lang="ru-RU" sz="1600"/>
        </a:p>
      </dgm:t>
    </dgm:pt>
    <dgm:pt modelId="{BE1B9593-4D9B-5B45-9224-71BC57CE5B73}" type="sibTrans" cxnId="{B9A37D80-9FDF-504A-BC1E-48B375FFC9D3}">
      <dgm:prSet/>
      <dgm:spPr/>
      <dgm:t>
        <a:bodyPr/>
        <a:lstStyle/>
        <a:p>
          <a:endParaRPr lang="ru-RU" sz="1600"/>
        </a:p>
      </dgm:t>
    </dgm:pt>
    <dgm:pt modelId="{1E639E4B-B303-654E-ACC9-BF166A90D98A}">
      <dgm:prSet phldrT="[Текст]" custT="1"/>
      <dgm:spPr/>
      <dgm:t>
        <a:bodyPr/>
        <a:lstStyle/>
        <a:p>
          <a:r>
            <a:rPr lang="ru-RU" sz="1400" i="0" dirty="0">
              <a:latin typeface="Arial" panose="020B0604020202020204" pitchFamily="34" charset="0"/>
              <a:cs typeface="Arial" panose="020B0604020202020204" pitchFamily="34" charset="0"/>
            </a:rPr>
            <a:t>Обработка результатов</a:t>
          </a:r>
        </a:p>
      </dgm:t>
    </dgm:pt>
    <dgm:pt modelId="{066F6AB3-03BC-7E41-AD46-CB500B0942E5}" type="parTrans" cxnId="{55F7789A-FB85-BE4D-B3E4-39DC8821AF39}">
      <dgm:prSet/>
      <dgm:spPr/>
      <dgm:t>
        <a:bodyPr/>
        <a:lstStyle/>
        <a:p>
          <a:endParaRPr lang="ru-RU" sz="1600"/>
        </a:p>
      </dgm:t>
    </dgm:pt>
    <dgm:pt modelId="{03B533FA-367F-0A41-AF63-AFDDC5E6583F}" type="sibTrans" cxnId="{55F7789A-FB85-BE4D-B3E4-39DC8821AF39}">
      <dgm:prSet/>
      <dgm:spPr/>
      <dgm:t>
        <a:bodyPr/>
        <a:lstStyle/>
        <a:p>
          <a:endParaRPr lang="ru-RU" sz="1600"/>
        </a:p>
      </dgm:t>
    </dgm:pt>
    <dgm:pt modelId="{1801A9ED-C318-9345-AAF5-2F81FFC8BABB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Счетник на снятие СИЗ</a:t>
          </a:r>
        </a:p>
      </dgm:t>
    </dgm:pt>
    <dgm:pt modelId="{B82167F0-68E9-434B-8CD4-C9E58F64C2A0}" type="parTrans" cxnId="{107533E6-9D42-7348-8155-1A2E8CAB775E}">
      <dgm:prSet/>
      <dgm:spPr/>
      <dgm:t>
        <a:bodyPr/>
        <a:lstStyle/>
        <a:p>
          <a:endParaRPr lang="ru-RU" sz="1600"/>
        </a:p>
      </dgm:t>
    </dgm:pt>
    <dgm:pt modelId="{0AB74559-FCC6-CA42-854E-D85784F71150}" type="sibTrans" cxnId="{107533E6-9D42-7348-8155-1A2E8CAB775E}">
      <dgm:prSet/>
      <dgm:spPr/>
      <dgm:t>
        <a:bodyPr/>
        <a:lstStyle/>
        <a:p>
          <a:endParaRPr lang="ru-RU" sz="1600"/>
        </a:p>
      </dgm:t>
    </dgm:pt>
    <dgm:pt modelId="{C2F3C204-4E5E-DE45-9886-AFE4E6A1694E}">
      <dgm:prSet phldrT="[Текст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Crop*</a:t>
          </a:r>
          <a:r>
            <a:rPr lang="ru-RU" sz="1400" dirty="0">
              <a:latin typeface="Arial" panose="020B0604020202020204" pitchFamily="34" charset="0"/>
              <a:cs typeface="Arial" panose="020B0604020202020204" pitchFamily="34" charset="0"/>
            </a:rPr>
            <a:t> людей на кадре</a:t>
          </a:r>
        </a:p>
      </dgm:t>
    </dgm:pt>
    <dgm:pt modelId="{BDB70A6A-6978-CF40-A91D-711AEAE62469}" type="parTrans" cxnId="{10897388-9F70-724C-A8E8-E649BE335627}">
      <dgm:prSet/>
      <dgm:spPr/>
      <dgm:t>
        <a:bodyPr/>
        <a:lstStyle/>
        <a:p>
          <a:endParaRPr lang="ru-RU" sz="1600"/>
        </a:p>
      </dgm:t>
    </dgm:pt>
    <dgm:pt modelId="{BD7BB415-A8B6-6246-9E04-D97732450250}" type="sibTrans" cxnId="{10897388-9F70-724C-A8E8-E649BE335627}">
      <dgm:prSet/>
      <dgm:spPr/>
      <dgm:t>
        <a:bodyPr/>
        <a:lstStyle/>
        <a:p>
          <a:endParaRPr lang="ru-RU" sz="1600"/>
        </a:p>
      </dgm:t>
    </dgm:pt>
    <dgm:pt modelId="{03B1D61A-5E64-2149-A130-DF5B23F7CBDE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Связь </a:t>
          </a:r>
          <a:r>
            <a:rPr lang="en-US" sz="1400" i="1" dirty="0">
              <a:latin typeface="Arial" panose="020B0604020202020204" pitchFamily="34" charset="0"/>
              <a:cs typeface="Arial" panose="020B0604020202020204" pitchFamily="34" charset="0"/>
            </a:rPr>
            <a:t>ID</a:t>
          </a:r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 по кадрам</a:t>
          </a:r>
        </a:p>
      </dgm:t>
    </dgm:pt>
    <dgm:pt modelId="{6491FC2C-DB7D-FA40-8FEA-428A64FAB5B8}" type="parTrans" cxnId="{B34AD267-415C-ED4A-803F-ACC775E0FFC4}">
      <dgm:prSet/>
      <dgm:spPr/>
      <dgm:t>
        <a:bodyPr/>
        <a:lstStyle/>
        <a:p>
          <a:endParaRPr lang="ru-RU" sz="1600"/>
        </a:p>
      </dgm:t>
    </dgm:pt>
    <dgm:pt modelId="{0CC899D9-71F1-6A4E-9BA7-737A86B41353}" type="sibTrans" cxnId="{B34AD267-415C-ED4A-803F-ACC775E0FFC4}">
      <dgm:prSet/>
      <dgm:spPr/>
      <dgm:t>
        <a:bodyPr/>
        <a:lstStyle/>
        <a:p>
          <a:endParaRPr lang="ru-RU" sz="1600"/>
        </a:p>
      </dgm:t>
    </dgm:pt>
    <dgm:pt modelId="{52D7E24B-0C6D-9542-A3BF-04C22C1AC09E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Класс на координаты</a:t>
          </a:r>
        </a:p>
      </dgm:t>
    </dgm:pt>
    <dgm:pt modelId="{BA140592-99B6-384B-8549-C3D5EB8067CB}" type="parTrans" cxnId="{112A5180-A006-D947-AB41-4D17E8AC3F8D}">
      <dgm:prSet/>
      <dgm:spPr/>
      <dgm:t>
        <a:bodyPr/>
        <a:lstStyle/>
        <a:p>
          <a:endParaRPr lang="ru-RU" sz="1600"/>
        </a:p>
      </dgm:t>
    </dgm:pt>
    <dgm:pt modelId="{8BA2870E-C8B9-8C41-91B7-B952AE879DDD}" type="sibTrans" cxnId="{112A5180-A006-D947-AB41-4D17E8AC3F8D}">
      <dgm:prSet/>
      <dgm:spPr/>
      <dgm:t>
        <a:bodyPr/>
        <a:lstStyle/>
        <a:p>
          <a:endParaRPr lang="ru-RU" sz="1600"/>
        </a:p>
      </dgm:t>
    </dgm:pt>
    <dgm:pt modelId="{72FF5DA4-5CE2-7844-A142-6B7D65262FFF}">
      <dgm:prSet phldrT="[Текст]" custT="1"/>
      <dgm:spPr/>
      <dgm:t>
        <a:bodyPr/>
        <a:lstStyle/>
        <a:p>
          <a:r>
            <a:rPr lang="ru-RU" sz="1400" dirty="0">
              <a:latin typeface="Arial" panose="020B0604020202020204" pitchFamily="34" charset="0"/>
              <a:cs typeface="Arial" panose="020B0604020202020204" pitchFamily="34" charset="0"/>
            </a:rPr>
            <a:t>Ансамбль</a:t>
          </a:r>
        </a:p>
      </dgm:t>
    </dgm:pt>
    <dgm:pt modelId="{38FB3335-B299-DA49-B7C9-20A2AEBF553B}" type="parTrans" cxnId="{3B0386CE-B770-B249-B3DE-9C6830ABC261}">
      <dgm:prSet/>
      <dgm:spPr/>
      <dgm:t>
        <a:bodyPr/>
        <a:lstStyle/>
        <a:p>
          <a:endParaRPr lang="ru-RU" sz="1600"/>
        </a:p>
      </dgm:t>
    </dgm:pt>
    <dgm:pt modelId="{E5F0861C-BA87-0D47-B56C-9B80921EDE99}" type="sibTrans" cxnId="{3B0386CE-B770-B249-B3DE-9C6830ABC261}">
      <dgm:prSet/>
      <dgm:spPr/>
      <dgm:t>
        <a:bodyPr/>
        <a:lstStyle/>
        <a:p>
          <a:endParaRPr lang="ru-RU" sz="1600"/>
        </a:p>
      </dgm:t>
    </dgm:pt>
    <dgm:pt modelId="{45F0F3EE-36FF-184E-ABB6-B3A24016AD88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Дообучение</a:t>
          </a:r>
        </a:p>
      </dgm:t>
    </dgm:pt>
    <dgm:pt modelId="{8AD0C555-C434-8140-9486-E4CD04A64417}" type="parTrans" cxnId="{4F725FEA-9253-E441-BA5F-A034659C7787}">
      <dgm:prSet/>
      <dgm:spPr/>
      <dgm:t>
        <a:bodyPr/>
        <a:lstStyle/>
        <a:p>
          <a:endParaRPr lang="ru-RU" sz="1600"/>
        </a:p>
      </dgm:t>
    </dgm:pt>
    <dgm:pt modelId="{E4DCE197-4A15-F64F-B7C8-48E6E67A18E2}" type="sibTrans" cxnId="{4F725FEA-9253-E441-BA5F-A034659C7787}">
      <dgm:prSet/>
      <dgm:spPr/>
      <dgm:t>
        <a:bodyPr/>
        <a:lstStyle/>
        <a:p>
          <a:endParaRPr lang="ru-RU" sz="1600"/>
        </a:p>
      </dgm:t>
    </dgm:pt>
    <dgm:pt modelId="{A7BEAD97-C34E-AA44-A061-DB01F1823A36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Дообучение</a:t>
          </a:r>
        </a:p>
      </dgm:t>
    </dgm:pt>
    <dgm:pt modelId="{280A5179-8680-EC4A-920F-407BFFEDA0DC}" type="parTrans" cxnId="{507E9B4F-E5EE-9844-995C-95A36DCD6858}">
      <dgm:prSet/>
      <dgm:spPr/>
      <dgm:t>
        <a:bodyPr/>
        <a:lstStyle/>
        <a:p>
          <a:endParaRPr lang="ru-RU" sz="1600"/>
        </a:p>
      </dgm:t>
    </dgm:pt>
    <dgm:pt modelId="{697FF899-54B2-214F-AF11-341B1B772507}" type="sibTrans" cxnId="{507E9B4F-E5EE-9844-995C-95A36DCD6858}">
      <dgm:prSet/>
      <dgm:spPr/>
      <dgm:t>
        <a:bodyPr/>
        <a:lstStyle/>
        <a:p>
          <a:endParaRPr lang="ru-RU" sz="1600"/>
        </a:p>
      </dgm:t>
    </dgm:pt>
    <dgm:pt modelId="{5B1A7C39-138A-DF46-A8FC-3C5291E72F55}">
      <dgm:prSet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Определение позы</a:t>
          </a:r>
        </a:p>
      </dgm:t>
    </dgm:pt>
    <dgm:pt modelId="{73F24DF0-A899-7142-B39F-13F477050FA9}" type="parTrans" cxnId="{ECCF42FD-6EB7-2544-95FA-B3D5615132F8}">
      <dgm:prSet/>
      <dgm:spPr/>
      <dgm:t>
        <a:bodyPr/>
        <a:lstStyle/>
        <a:p>
          <a:endParaRPr lang="ru-RU" sz="1600"/>
        </a:p>
      </dgm:t>
    </dgm:pt>
    <dgm:pt modelId="{4DF6289F-C8C7-9340-A815-E8ECDFD48B4D}" type="sibTrans" cxnId="{ECCF42FD-6EB7-2544-95FA-B3D5615132F8}">
      <dgm:prSet custT="1"/>
      <dgm:spPr/>
      <dgm:t>
        <a:bodyPr/>
        <a:lstStyle/>
        <a:p>
          <a:endParaRPr lang="ru-RU" sz="300"/>
        </a:p>
      </dgm:t>
    </dgm:pt>
    <dgm:pt modelId="{937BC247-F9DD-AD4C-8114-9E7FD6DBBC61}">
      <dgm:prSet custT="1"/>
      <dgm:spPr/>
      <dgm:t>
        <a:bodyPr/>
        <a:lstStyle/>
        <a:p>
          <a:r>
            <a:rPr lang="en-US" sz="1400" i="1" dirty="0">
              <a:latin typeface="Arial" panose="020B0604020202020204" pitchFamily="34" charset="0"/>
              <a:cs typeface="Arial" panose="020B0604020202020204" pitchFamily="34" charset="0"/>
            </a:rPr>
            <a:t>OpenPose</a:t>
          </a:r>
          <a:endParaRPr lang="ru-RU" sz="1400" i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D084A6-7DA3-5C44-AA44-3AD28E764691}" type="parTrans" cxnId="{E00C5B5D-E3A3-4345-878A-0840C57EDDC7}">
      <dgm:prSet/>
      <dgm:spPr/>
      <dgm:t>
        <a:bodyPr/>
        <a:lstStyle/>
        <a:p>
          <a:endParaRPr lang="ru-RU"/>
        </a:p>
      </dgm:t>
    </dgm:pt>
    <dgm:pt modelId="{73250C08-60A8-FF4C-8D4B-12590B08DDBA}" type="sibTrans" cxnId="{E00C5B5D-E3A3-4345-878A-0840C57EDDC7}">
      <dgm:prSet/>
      <dgm:spPr/>
      <dgm:t>
        <a:bodyPr/>
        <a:lstStyle/>
        <a:p>
          <a:endParaRPr lang="ru-RU"/>
        </a:p>
      </dgm:t>
    </dgm:pt>
    <dgm:pt modelId="{35502BFB-DEC8-2747-A2E5-040B7E2555A9}">
      <dgm:prSet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Координаты конечностей</a:t>
          </a:r>
        </a:p>
      </dgm:t>
    </dgm:pt>
    <dgm:pt modelId="{78B4480B-6D55-B447-9D75-4F75FC2444E6}" type="parTrans" cxnId="{E2D2D8E3-748A-8C4E-8493-9B156A627995}">
      <dgm:prSet/>
      <dgm:spPr/>
      <dgm:t>
        <a:bodyPr/>
        <a:lstStyle/>
        <a:p>
          <a:endParaRPr lang="ru-RU"/>
        </a:p>
      </dgm:t>
    </dgm:pt>
    <dgm:pt modelId="{900FB647-C8D3-3F4A-AEED-06A661BEEAAF}" type="sibTrans" cxnId="{E2D2D8E3-748A-8C4E-8493-9B156A627995}">
      <dgm:prSet/>
      <dgm:spPr/>
      <dgm:t>
        <a:bodyPr/>
        <a:lstStyle/>
        <a:p>
          <a:endParaRPr lang="ru-RU"/>
        </a:p>
      </dgm:t>
    </dgm:pt>
    <dgm:pt modelId="{FA7A6388-5864-9040-A42A-7E59E0B1492F}">
      <dgm:prSet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Предобуч.</a:t>
          </a:r>
        </a:p>
      </dgm:t>
    </dgm:pt>
    <dgm:pt modelId="{AD360E6B-15E6-6949-83B7-8C89F67DE1E9}" type="parTrans" cxnId="{0E054BD5-F948-F449-9D4F-5A8586E4CA4F}">
      <dgm:prSet/>
      <dgm:spPr/>
      <dgm:t>
        <a:bodyPr/>
        <a:lstStyle/>
        <a:p>
          <a:endParaRPr lang="ru-RU"/>
        </a:p>
      </dgm:t>
    </dgm:pt>
    <dgm:pt modelId="{ADF33F0C-2538-D440-A44E-07DD3918919F}" type="sibTrans" cxnId="{0E054BD5-F948-F449-9D4F-5A8586E4CA4F}">
      <dgm:prSet/>
      <dgm:spPr/>
      <dgm:t>
        <a:bodyPr/>
        <a:lstStyle/>
        <a:p>
          <a:endParaRPr lang="ru-RU"/>
        </a:p>
      </dgm:t>
    </dgm:pt>
    <dgm:pt modelId="{87A858BF-CCAB-D141-92CF-0EBF023E4387}">
      <dgm:prSet phldrT="[Текст]" custT="1"/>
      <dgm:spPr/>
      <dgm:t>
        <a:bodyPr/>
        <a:lstStyle/>
        <a:p>
          <a:r>
            <a:rPr lang="ru-RU" sz="1400" i="1" dirty="0">
              <a:latin typeface="Arial" panose="020B0604020202020204" pitchFamily="34" charset="0"/>
              <a:cs typeface="Arial" panose="020B0604020202020204" pitchFamily="34" charset="0"/>
            </a:rPr>
            <a:t>Прочие мелочи</a:t>
          </a:r>
        </a:p>
      </dgm:t>
    </dgm:pt>
    <dgm:pt modelId="{2535FD03-65AD-BD48-8CC8-34381C6B898D}" type="parTrans" cxnId="{9FB45B31-0E18-6D4A-A7BF-9A2CD9E2E4A9}">
      <dgm:prSet/>
      <dgm:spPr/>
      <dgm:t>
        <a:bodyPr/>
        <a:lstStyle/>
        <a:p>
          <a:endParaRPr lang="ru-RU"/>
        </a:p>
      </dgm:t>
    </dgm:pt>
    <dgm:pt modelId="{B1EC4CC5-FDE7-8A4F-B24F-DFFB3F01C55C}" type="sibTrans" cxnId="{9FB45B31-0E18-6D4A-A7BF-9A2CD9E2E4A9}">
      <dgm:prSet/>
      <dgm:spPr/>
      <dgm:t>
        <a:bodyPr/>
        <a:lstStyle/>
        <a:p>
          <a:endParaRPr lang="ru-RU"/>
        </a:p>
      </dgm:t>
    </dgm:pt>
    <dgm:pt modelId="{DBEB9AC0-5783-BD41-8B4E-EA6586742150}" type="pres">
      <dgm:prSet presAssocID="{B5298EC0-2AFB-DF4C-A63A-D7FAF43F3F05}" presName="linearFlow" presStyleCnt="0">
        <dgm:presLayoutVars>
          <dgm:dir/>
          <dgm:animLvl val="lvl"/>
          <dgm:resizeHandles val="exact"/>
        </dgm:presLayoutVars>
      </dgm:prSet>
      <dgm:spPr/>
    </dgm:pt>
    <dgm:pt modelId="{F246F465-E8A5-014B-A9F7-068E98ED9D65}" type="pres">
      <dgm:prSet presAssocID="{7B02F5ED-9F22-804A-84BD-E707CEC76337}" presName="composite" presStyleCnt="0"/>
      <dgm:spPr/>
    </dgm:pt>
    <dgm:pt modelId="{4D13398A-EF93-334D-BC37-1A0E5E218273}" type="pres">
      <dgm:prSet presAssocID="{7B02F5ED-9F22-804A-84BD-E707CEC76337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2CA3928D-B32F-9843-9DAF-8374A9CCFE21}" type="pres">
      <dgm:prSet presAssocID="{7B02F5ED-9F22-804A-84BD-E707CEC76337}" presName="parSh" presStyleLbl="node1" presStyleIdx="0" presStyleCnt="5"/>
      <dgm:spPr/>
    </dgm:pt>
    <dgm:pt modelId="{C3327650-9B73-4948-A0A8-4E1A1174C3A8}" type="pres">
      <dgm:prSet presAssocID="{7B02F5ED-9F22-804A-84BD-E707CEC76337}" presName="desTx" presStyleLbl="fgAcc1" presStyleIdx="0" presStyleCnt="5">
        <dgm:presLayoutVars>
          <dgm:bulletEnabled val="1"/>
        </dgm:presLayoutVars>
      </dgm:prSet>
      <dgm:spPr/>
    </dgm:pt>
    <dgm:pt modelId="{819363B5-2BBE-C541-8B44-BE49A8E3DFD9}" type="pres">
      <dgm:prSet presAssocID="{E9E942DD-8DA8-8843-AE74-C818E027534C}" presName="sibTrans" presStyleLbl="sibTrans2D1" presStyleIdx="0" presStyleCnt="4"/>
      <dgm:spPr/>
    </dgm:pt>
    <dgm:pt modelId="{2D7ED6F1-04A9-844A-92CB-A1A3AF1D8213}" type="pres">
      <dgm:prSet presAssocID="{E9E942DD-8DA8-8843-AE74-C818E027534C}" presName="connTx" presStyleLbl="sibTrans2D1" presStyleIdx="0" presStyleCnt="4"/>
      <dgm:spPr/>
    </dgm:pt>
    <dgm:pt modelId="{A4177B03-6344-EE4B-B5D6-F9E7AB56877C}" type="pres">
      <dgm:prSet presAssocID="{5B1A7C39-138A-DF46-A8FC-3C5291E72F55}" presName="composite" presStyleCnt="0"/>
      <dgm:spPr/>
    </dgm:pt>
    <dgm:pt modelId="{25C6EAD3-A609-7A4E-974D-B43B02169E42}" type="pres">
      <dgm:prSet presAssocID="{5B1A7C39-138A-DF46-A8FC-3C5291E72F55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67D5E597-6182-1544-A19C-D3E7CAFB730E}" type="pres">
      <dgm:prSet presAssocID="{5B1A7C39-138A-DF46-A8FC-3C5291E72F55}" presName="parSh" presStyleLbl="node1" presStyleIdx="1" presStyleCnt="5"/>
      <dgm:spPr/>
    </dgm:pt>
    <dgm:pt modelId="{0A194224-F02A-EA48-A7E9-FED662A0DCF4}" type="pres">
      <dgm:prSet presAssocID="{5B1A7C39-138A-DF46-A8FC-3C5291E72F55}" presName="desTx" presStyleLbl="fgAcc1" presStyleIdx="1" presStyleCnt="5">
        <dgm:presLayoutVars>
          <dgm:bulletEnabled val="1"/>
        </dgm:presLayoutVars>
      </dgm:prSet>
      <dgm:spPr/>
    </dgm:pt>
    <dgm:pt modelId="{99662F04-1335-CC47-98E7-FD102F56F1C6}" type="pres">
      <dgm:prSet presAssocID="{4DF6289F-C8C7-9340-A815-E8ECDFD48B4D}" presName="sibTrans" presStyleLbl="sibTrans2D1" presStyleIdx="1" presStyleCnt="4"/>
      <dgm:spPr/>
    </dgm:pt>
    <dgm:pt modelId="{940954CA-9EFA-9E45-8C76-316BAA68FF1E}" type="pres">
      <dgm:prSet presAssocID="{4DF6289F-C8C7-9340-A815-E8ECDFD48B4D}" presName="connTx" presStyleLbl="sibTrans2D1" presStyleIdx="1" presStyleCnt="4"/>
      <dgm:spPr/>
    </dgm:pt>
    <dgm:pt modelId="{B27260E4-2E86-6540-AD03-16B5DFBA7FC3}" type="pres">
      <dgm:prSet presAssocID="{5CC92939-FE94-844C-A641-2D803934358A}" presName="composite" presStyleCnt="0"/>
      <dgm:spPr/>
    </dgm:pt>
    <dgm:pt modelId="{1287D377-2E57-324C-B5C6-5B740D0A4B3F}" type="pres">
      <dgm:prSet presAssocID="{5CC92939-FE94-844C-A641-2D803934358A}" presName="par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84209F8C-7AE7-5243-91B8-DD77F9301375}" type="pres">
      <dgm:prSet presAssocID="{5CC92939-FE94-844C-A641-2D803934358A}" presName="parSh" presStyleLbl="node1" presStyleIdx="2" presStyleCnt="5"/>
      <dgm:spPr/>
    </dgm:pt>
    <dgm:pt modelId="{B53BDFC9-CE4F-E848-9906-20D07FBF00C7}" type="pres">
      <dgm:prSet presAssocID="{5CC92939-FE94-844C-A641-2D803934358A}" presName="desTx" presStyleLbl="fgAcc1" presStyleIdx="2" presStyleCnt="5">
        <dgm:presLayoutVars>
          <dgm:bulletEnabled val="1"/>
        </dgm:presLayoutVars>
      </dgm:prSet>
      <dgm:spPr/>
    </dgm:pt>
    <dgm:pt modelId="{93C64B2D-DD1A-C841-B066-361DD6FAC640}" type="pres">
      <dgm:prSet presAssocID="{4C9263C8-7C24-0141-9618-80F94F17435A}" presName="sibTrans" presStyleLbl="sibTrans2D1" presStyleIdx="2" presStyleCnt="4"/>
      <dgm:spPr/>
    </dgm:pt>
    <dgm:pt modelId="{F2BF3D5C-4183-0648-A26B-D69BF2A5EA2C}" type="pres">
      <dgm:prSet presAssocID="{4C9263C8-7C24-0141-9618-80F94F17435A}" presName="connTx" presStyleLbl="sibTrans2D1" presStyleIdx="2" presStyleCnt="4"/>
      <dgm:spPr/>
    </dgm:pt>
    <dgm:pt modelId="{E6D513DD-87E0-814B-8993-A3102E147871}" type="pres">
      <dgm:prSet presAssocID="{1B29A9BB-5307-FB43-BDE1-5C2189E0F06E}" presName="composite" presStyleCnt="0"/>
      <dgm:spPr/>
    </dgm:pt>
    <dgm:pt modelId="{783BA20C-C61D-1144-A04F-796100A5D958}" type="pres">
      <dgm:prSet presAssocID="{1B29A9BB-5307-FB43-BDE1-5C2189E0F06E}" presName="par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FAFAD6C7-7620-3C44-A140-8FB1345F7AFA}" type="pres">
      <dgm:prSet presAssocID="{1B29A9BB-5307-FB43-BDE1-5C2189E0F06E}" presName="parSh" presStyleLbl="node1" presStyleIdx="3" presStyleCnt="5"/>
      <dgm:spPr/>
    </dgm:pt>
    <dgm:pt modelId="{1CA2429B-979D-6643-91B9-4AE71498B7B5}" type="pres">
      <dgm:prSet presAssocID="{1B29A9BB-5307-FB43-BDE1-5C2189E0F06E}" presName="desTx" presStyleLbl="fgAcc1" presStyleIdx="3" presStyleCnt="5">
        <dgm:presLayoutVars>
          <dgm:bulletEnabled val="1"/>
        </dgm:presLayoutVars>
      </dgm:prSet>
      <dgm:spPr/>
    </dgm:pt>
    <dgm:pt modelId="{341F281A-0BDA-814C-AF91-F5B77BAC1E2A}" type="pres">
      <dgm:prSet presAssocID="{55B50D56-1FD1-074C-AB46-0E654426F279}" presName="sibTrans" presStyleLbl="sibTrans2D1" presStyleIdx="3" presStyleCnt="4"/>
      <dgm:spPr/>
    </dgm:pt>
    <dgm:pt modelId="{5294A9AB-844A-DA43-B462-A219E24A1EE8}" type="pres">
      <dgm:prSet presAssocID="{55B50D56-1FD1-074C-AB46-0E654426F279}" presName="connTx" presStyleLbl="sibTrans2D1" presStyleIdx="3" presStyleCnt="4"/>
      <dgm:spPr/>
    </dgm:pt>
    <dgm:pt modelId="{6EEC4EE3-0420-094F-A6EF-024CC9378564}" type="pres">
      <dgm:prSet presAssocID="{1E639E4B-B303-654E-ACC9-BF166A90D98A}" presName="composite" presStyleCnt="0"/>
      <dgm:spPr/>
    </dgm:pt>
    <dgm:pt modelId="{07A6A4B5-BB1C-A74C-8971-EDDAF3E60BB8}" type="pres">
      <dgm:prSet presAssocID="{1E639E4B-B303-654E-ACC9-BF166A90D98A}" presName="par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EA7589B-5471-9747-BC0F-5C35E1923ECC}" type="pres">
      <dgm:prSet presAssocID="{1E639E4B-B303-654E-ACC9-BF166A90D98A}" presName="parSh" presStyleLbl="node1" presStyleIdx="4" presStyleCnt="5"/>
      <dgm:spPr/>
    </dgm:pt>
    <dgm:pt modelId="{0BF61498-56D3-4E48-9F3C-372C02FBBA7A}" type="pres">
      <dgm:prSet presAssocID="{1E639E4B-B303-654E-ACC9-BF166A90D98A}" presName="desTx" presStyleLbl="fgAcc1" presStyleIdx="4" presStyleCnt="5">
        <dgm:presLayoutVars>
          <dgm:bulletEnabled val="1"/>
        </dgm:presLayoutVars>
      </dgm:prSet>
      <dgm:spPr/>
    </dgm:pt>
  </dgm:ptLst>
  <dgm:cxnLst>
    <dgm:cxn modelId="{B5FB8006-48F0-F64B-87F9-4AF312B4A50C}" type="presOf" srcId="{BF910BA1-E18A-1147-9794-E526DDE10A44}" destId="{0BF61498-56D3-4E48-9F3C-372C02FBBA7A}" srcOrd="0" destOrd="0" presId="urn:microsoft.com/office/officeart/2005/8/layout/process3"/>
    <dgm:cxn modelId="{0A54FC07-7010-EE4D-8B21-AB5ADB2065E7}" type="presOf" srcId="{4DF6289F-C8C7-9340-A815-E8ECDFD48B4D}" destId="{99662F04-1335-CC47-98E7-FD102F56F1C6}" srcOrd="0" destOrd="0" presId="urn:microsoft.com/office/officeart/2005/8/layout/process3"/>
    <dgm:cxn modelId="{7A872215-DFD4-C14A-A8EF-E75AE03E4ADD}" type="presOf" srcId="{4C9263C8-7C24-0141-9618-80F94F17435A}" destId="{F2BF3D5C-4183-0648-A26B-D69BF2A5EA2C}" srcOrd="1" destOrd="0" presId="urn:microsoft.com/office/officeart/2005/8/layout/process3"/>
    <dgm:cxn modelId="{D8A8EB20-73FE-684C-9A28-CDA890A70FE3}" type="presOf" srcId="{55B50D56-1FD1-074C-AB46-0E654426F279}" destId="{341F281A-0BDA-814C-AF91-F5B77BAC1E2A}" srcOrd="0" destOrd="0" presId="urn:microsoft.com/office/officeart/2005/8/layout/process3"/>
    <dgm:cxn modelId="{9FB45B31-0E18-6D4A-A7BF-9A2CD9E2E4A9}" srcId="{1E639E4B-B303-654E-ACC9-BF166A90D98A}" destId="{87A858BF-CCAB-D141-92CF-0EBF023E4387}" srcOrd="2" destOrd="0" parTransId="{2535FD03-65AD-BD48-8CC8-34381C6B898D}" sibTransId="{B1EC4CC5-FDE7-8A4F-B24F-DFFB3F01C55C}"/>
    <dgm:cxn modelId="{EC953C33-FC62-784C-9386-49CE1E074114}" type="presOf" srcId="{A7BEAD97-C34E-AA44-A061-DB01F1823A36}" destId="{1CA2429B-979D-6643-91B9-4AE71498B7B5}" srcOrd="0" destOrd="1" presId="urn:microsoft.com/office/officeart/2005/8/layout/process3"/>
    <dgm:cxn modelId="{D9B9BF35-38A1-9848-A3BA-CACFB82D6AD9}" type="presOf" srcId="{7B02F5ED-9F22-804A-84BD-E707CEC76337}" destId="{4D13398A-EF93-334D-BC37-1A0E5E218273}" srcOrd="0" destOrd="0" presId="urn:microsoft.com/office/officeart/2005/8/layout/process3"/>
    <dgm:cxn modelId="{D29DB33A-B502-1B45-BA90-2DFA3392027E}" type="presOf" srcId="{52D7E24B-0C6D-9542-A3BF-04C22C1AC09E}" destId="{1CA2429B-979D-6643-91B9-4AE71498B7B5}" srcOrd="0" destOrd="2" presId="urn:microsoft.com/office/officeart/2005/8/layout/process3"/>
    <dgm:cxn modelId="{F9C7093B-28E2-8441-91D0-DE9FCFB884BE}" type="presOf" srcId="{1B29A9BB-5307-FB43-BDE1-5C2189E0F06E}" destId="{783BA20C-C61D-1144-A04F-796100A5D958}" srcOrd="0" destOrd="0" presId="urn:microsoft.com/office/officeart/2005/8/layout/process3"/>
    <dgm:cxn modelId="{EE1AAA45-9ACF-1E45-9B3D-E9E7689D4816}" type="presOf" srcId="{85EC00ED-1CC5-B446-AF0E-7E46AF12746C}" destId="{1CA2429B-979D-6643-91B9-4AE71498B7B5}" srcOrd="0" destOrd="0" presId="urn:microsoft.com/office/officeart/2005/8/layout/process3"/>
    <dgm:cxn modelId="{A8AB734F-3EED-474C-89B5-253447862235}" type="presOf" srcId="{937BC247-F9DD-AD4C-8114-9E7FD6DBBC61}" destId="{0A194224-F02A-EA48-A7E9-FED662A0DCF4}" srcOrd="0" destOrd="0" presId="urn:microsoft.com/office/officeart/2005/8/layout/process3"/>
    <dgm:cxn modelId="{507E9B4F-E5EE-9844-995C-95A36DCD6858}" srcId="{1B29A9BB-5307-FB43-BDE1-5C2189E0F06E}" destId="{A7BEAD97-C34E-AA44-A061-DB01F1823A36}" srcOrd="1" destOrd="0" parTransId="{280A5179-8680-EC4A-920F-407BFFEDA0DC}" sibTransId="{697FF899-54B2-214F-AF11-341B1B772507}"/>
    <dgm:cxn modelId="{D4F83050-DAAC-8D46-8A08-496C1D2D4BA4}" type="presOf" srcId="{E9E942DD-8DA8-8843-AE74-C818E027534C}" destId="{819363B5-2BBE-C541-8B44-BE49A8E3DFD9}" srcOrd="0" destOrd="0" presId="urn:microsoft.com/office/officeart/2005/8/layout/process3"/>
    <dgm:cxn modelId="{3748B652-2656-344C-8454-D3C0BE5939D3}" type="presOf" srcId="{4DF6289F-C8C7-9340-A815-E8ECDFD48B4D}" destId="{940954CA-9EFA-9E45-8C76-316BAA68FF1E}" srcOrd="1" destOrd="0" presId="urn:microsoft.com/office/officeart/2005/8/layout/process3"/>
    <dgm:cxn modelId="{8A20AE53-9C67-8D47-B9C3-2DF65CC9645F}" srcId="{B5298EC0-2AFB-DF4C-A63A-D7FAF43F3F05}" destId="{1B29A9BB-5307-FB43-BDE1-5C2189E0F06E}" srcOrd="3" destOrd="0" parTransId="{52451D33-61AA-6C4A-9828-3FC4545F0DC9}" sibTransId="{55B50D56-1FD1-074C-AB46-0E654426F279}"/>
    <dgm:cxn modelId="{BA6F8C58-799C-D349-951E-C4141ACE5263}" type="presOf" srcId="{03B1D61A-5E64-2149-A130-DF5B23F7CBDE}" destId="{B53BDFC9-CE4F-E848-9906-20D07FBF00C7}" srcOrd="0" destOrd="2" presId="urn:microsoft.com/office/officeart/2005/8/layout/process3"/>
    <dgm:cxn modelId="{F0B1375B-E84A-6E4B-B6E9-6E67CBEF3293}" type="presOf" srcId="{72FF5DA4-5CE2-7844-A142-6B7D65262FFF}" destId="{C3327650-9B73-4948-A0A8-4E1A1174C3A8}" srcOrd="0" destOrd="1" presId="urn:microsoft.com/office/officeart/2005/8/layout/process3"/>
    <dgm:cxn modelId="{B141B15B-F5C3-A246-B08E-A049F3C770C5}" type="presOf" srcId="{1E639E4B-B303-654E-ACC9-BF166A90D98A}" destId="{07A6A4B5-BB1C-A74C-8971-EDDAF3E60BB8}" srcOrd="0" destOrd="0" presId="urn:microsoft.com/office/officeart/2005/8/layout/process3"/>
    <dgm:cxn modelId="{E00C5B5D-E3A3-4345-878A-0840C57EDDC7}" srcId="{5B1A7C39-138A-DF46-A8FC-3C5291E72F55}" destId="{937BC247-F9DD-AD4C-8114-9E7FD6DBBC61}" srcOrd="0" destOrd="0" parTransId="{A8D084A6-7DA3-5C44-AA44-3AD28E764691}" sibTransId="{73250C08-60A8-FF4C-8D4B-12590B08DDBA}"/>
    <dgm:cxn modelId="{B34AD267-415C-ED4A-803F-ACC775E0FFC4}" srcId="{5CC92939-FE94-844C-A641-2D803934358A}" destId="{03B1D61A-5E64-2149-A130-DF5B23F7CBDE}" srcOrd="2" destOrd="0" parTransId="{6491FC2C-DB7D-FA40-8FEA-428A64FAB5B8}" sibTransId="{0CC899D9-71F1-6A4E-9BA7-737A86B41353}"/>
    <dgm:cxn modelId="{C6EB8F69-7EFA-E94F-9760-C1D6362CF819}" type="presOf" srcId="{E9E942DD-8DA8-8843-AE74-C818E027534C}" destId="{2D7ED6F1-04A9-844A-92CB-A1A3AF1D8213}" srcOrd="1" destOrd="0" presId="urn:microsoft.com/office/officeart/2005/8/layout/process3"/>
    <dgm:cxn modelId="{DC3BF771-BCC7-BA42-A799-449F5C93FF5B}" type="presOf" srcId="{5B1A7C39-138A-DF46-A8FC-3C5291E72F55}" destId="{25C6EAD3-A609-7A4E-974D-B43B02169E42}" srcOrd="0" destOrd="0" presId="urn:microsoft.com/office/officeart/2005/8/layout/process3"/>
    <dgm:cxn modelId="{51EE1774-6FA8-CC45-B938-11D8DE9D407D}" type="presOf" srcId="{5CC92939-FE94-844C-A641-2D803934358A}" destId="{84209F8C-7AE7-5243-91B8-DD77F9301375}" srcOrd="1" destOrd="0" presId="urn:microsoft.com/office/officeart/2005/8/layout/process3"/>
    <dgm:cxn modelId="{4596C274-17D6-4149-AF9A-5A42CA0815DF}" type="presOf" srcId="{4C9263C8-7C24-0141-9618-80F94F17435A}" destId="{93C64B2D-DD1A-C841-B066-361DD6FAC640}" srcOrd="0" destOrd="0" presId="urn:microsoft.com/office/officeart/2005/8/layout/process3"/>
    <dgm:cxn modelId="{A0A84D77-041E-3149-BD21-78AF08ECD7A6}" type="presOf" srcId="{5CC92939-FE94-844C-A641-2D803934358A}" destId="{1287D377-2E57-324C-B5C6-5B740D0A4B3F}" srcOrd="0" destOrd="0" presId="urn:microsoft.com/office/officeart/2005/8/layout/process3"/>
    <dgm:cxn modelId="{7974FD77-32FA-6C41-BE08-2BE575C08E6B}" type="presOf" srcId="{45F0F3EE-36FF-184E-ABB6-B3A24016AD88}" destId="{B53BDFC9-CE4F-E848-9906-20D07FBF00C7}" srcOrd="0" destOrd="1" presId="urn:microsoft.com/office/officeart/2005/8/layout/process3"/>
    <dgm:cxn modelId="{14974B7A-B6E1-EC42-9B79-4307D792A29D}" type="presOf" srcId="{1B29A9BB-5307-FB43-BDE1-5C2189E0F06E}" destId="{FAFAD6C7-7620-3C44-A140-8FB1345F7AFA}" srcOrd="1" destOrd="0" presId="urn:microsoft.com/office/officeart/2005/8/layout/process3"/>
    <dgm:cxn modelId="{E6F3FB7E-F6E6-E946-AA82-EDE153FB5B65}" srcId="{1E639E4B-B303-654E-ACC9-BF166A90D98A}" destId="{BF910BA1-E18A-1147-9794-E526DDE10A44}" srcOrd="0" destOrd="0" parTransId="{B36C321A-B79E-F044-AEAA-A8DF3E841C2F}" sibTransId="{3CC8C68B-BDA1-7A41-91A9-018F1AE63C42}"/>
    <dgm:cxn modelId="{112A5180-A006-D947-AB41-4D17E8AC3F8D}" srcId="{1B29A9BB-5307-FB43-BDE1-5C2189E0F06E}" destId="{52D7E24B-0C6D-9542-A3BF-04C22C1AC09E}" srcOrd="2" destOrd="0" parTransId="{BA140592-99B6-384B-8549-C3D5EB8067CB}" sibTransId="{8BA2870E-C8B9-8C41-91B7-B952AE879DDD}"/>
    <dgm:cxn modelId="{B9A37D80-9FDF-504A-BC1E-48B375FFC9D3}" srcId="{1B29A9BB-5307-FB43-BDE1-5C2189E0F06E}" destId="{85EC00ED-1CC5-B446-AF0E-7E46AF12746C}" srcOrd="0" destOrd="0" parTransId="{17F08BA5-9B52-2345-8F63-DD911F956CD4}" sibTransId="{BE1B9593-4D9B-5B45-9224-71BC57CE5B73}"/>
    <dgm:cxn modelId="{E6C0C683-92BA-EE4E-B6B4-7B8460417779}" srcId="{B5298EC0-2AFB-DF4C-A63A-D7FAF43F3F05}" destId="{5CC92939-FE94-844C-A641-2D803934358A}" srcOrd="2" destOrd="0" parTransId="{4FB384FA-7373-A848-8048-9C1C092C10B7}" sibTransId="{4C9263C8-7C24-0141-9618-80F94F17435A}"/>
    <dgm:cxn modelId="{1D6D2E87-F7E2-234B-A15A-A72128C9133B}" type="presOf" srcId="{7B02F5ED-9F22-804A-84BD-E707CEC76337}" destId="{2CA3928D-B32F-9843-9DAF-8374A9CCFE21}" srcOrd="1" destOrd="0" presId="urn:microsoft.com/office/officeart/2005/8/layout/process3"/>
    <dgm:cxn modelId="{10897388-9F70-724C-A8E8-E649BE335627}" srcId="{7B02F5ED-9F22-804A-84BD-E707CEC76337}" destId="{C2F3C204-4E5E-DE45-9886-AFE4E6A1694E}" srcOrd="2" destOrd="0" parTransId="{BDB70A6A-6978-CF40-A91D-711AEAE62469}" sibTransId="{BD7BB415-A8B6-6246-9E04-D97732450250}"/>
    <dgm:cxn modelId="{3073BA8A-C610-A049-A50E-11D45656570D}" type="presOf" srcId="{A14B38B7-5512-1B40-918C-64EDAAA50092}" destId="{C3327650-9B73-4948-A0A8-4E1A1174C3A8}" srcOrd="0" destOrd="0" presId="urn:microsoft.com/office/officeart/2005/8/layout/process3"/>
    <dgm:cxn modelId="{55F7789A-FB85-BE4D-B3E4-39DC8821AF39}" srcId="{B5298EC0-2AFB-DF4C-A63A-D7FAF43F3F05}" destId="{1E639E4B-B303-654E-ACC9-BF166A90D98A}" srcOrd="4" destOrd="0" parTransId="{066F6AB3-03BC-7E41-AD46-CB500B0942E5}" sibTransId="{03B533FA-367F-0A41-AF63-AFDDC5E6583F}"/>
    <dgm:cxn modelId="{5A1601AA-640E-6B40-8EBE-2251C85B2C6A}" type="presOf" srcId="{FA7A6388-5864-9040-A42A-7E59E0B1492F}" destId="{0A194224-F02A-EA48-A7E9-FED662A0DCF4}" srcOrd="0" destOrd="1" presId="urn:microsoft.com/office/officeart/2005/8/layout/process3"/>
    <dgm:cxn modelId="{A85DCAB7-FDA7-D44B-8596-D760B211E18F}" type="presOf" srcId="{CF633EFF-5786-F149-B738-423CFEE82D9D}" destId="{B53BDFC9-CE4F-E848-9906-20D07FBF00C7}" srcOrd="0" destOrd="0" presId="urn:microsoft.com/office/officeart/2005/8/layout/process3"/>
    <dgm:cxn modelId="{2E3AF3C2-CE7C-F94D-B665-122EC9368CF5}" type="presOf" srcId="{B5298EC0-2AFB-DF4C-A63A-D7FAF43F3F05}" destId="{DBEB9AC0-5783-BD41-8B4E-EA6586742150}" srcOrd="0" destOrd="0" presId="urn:microsoft.com/office/officeart/2005/8/layout/process3"/>
    <dgm:cxn modelId="{63493DC5-857C-EA47-A5EB-3C077850D9AE}" type="presOf" srcId="{55B50D56-1FD1-074C-AB46-0E654426F279}" destId="{5294A9AB-844A-DA43-B462-A219E24A1EE8}" srcOrd="1" destOrd="0" presId="urn:microsoft.com/office/officeart/2005/8/layout/process3"/>
    <dgm:cxn modelId="{C2B80FCC-B2EF-1C43-BE97-0B77C275AB87}" srcId="{5CC92939-FE94-844C-A641-2D803934358A}" destId="{CF633EFF-5786-F149-B738-423CFEE82D9D}" srcOrd="0" destOrd="0" parTransId="{716FF9CE-33F2-A34F-96F9-32811F52C54F}" sibTransId="{1798F335-C3A1-DB42-AE76-CEA34F496FD0}"/>
    <dgm:cxn modelId="{3B0386CE-B770-B249-B3DE-9C6830ABC261}" srcId="{7B02F5ED-9F22-804A-84BD-E707CEC76337}" destId="{72FF5DA4-5CE2-7844-A142-6B7D65262FFF}" srcOrd="1" destOrd="0" parTransId="{38FB3335-B299-DA49-B7C9-20A2AEBF553B}" sibTransId="{E5F0861C-BA87-0D47-B56C-9B80921EDE99}"/>
    <dgm:cxn modelId="{0E054BD5-F948-F449-9D4F-5A8586E4CA4F}" srcId="{5B1A7C39-138A-DF46-A8FC-3C5291E72F55}" destId="{FA7A6388-5864-9040-A42A-7E59E0B1492F}" srcOrd="1" destOrd="0" parTransId="{AD360E6B-15E6-6949-83B7-8C89F67DE1E9}" sibTransId="{ADF33F0C-2538-D440-A44E-07DD3918919F}"/>
    <dgm:cxn modelId="{D2F2EED7-E4E1-E646-BF91-C0A4E8016108}" type="presOf" srcId="{1801A9ED-C318-9345-AAF5-2F81FFC8BABB}" destId="{0BF61498-56D3-4E48-9F3C-372C02FBBA7A}" srcOrd="0" destOrd="1" presId="urn:microsoft.com/office/officeart/2005/8/layout/process3"/>
    <dgm:cxn modelId="{DD25ABDB-DC13-444A-BEFA-A2C1B9FA5D7C}" type="presOf" srcId="{C2F3C204-4E5E-DE45-9886-AFE4E6A1694E}" destId="{C3327650-9B73-4948-A0A8-4E1A1174C3A8}" srcOrd="0" destOrd="2" presId="urn:microsoft.com/office/officeart/2005/8/layout/process3"/>
    <dgm:cxn modelId="{5ED95CDD-368E-2A40-94CB-72BF1CBD9572}" type="presOf" srcId="{35502BFB-DEC8-2747-A2E5-040B7E2555A9}" destId="{0A194224-F02A-EA48-A7E9-FED662A0DCF4}" srcOrd="0" destOrd="2" presId="urn:microsoft.com/office/officeart/2005/8/layout/process3"/>
    <dgm:cxn modelId="{E2D2D8E3-748A-8C4E-8493-9B156A627995}" srcId="{5B1A7C39-138A-DF46-A8FC-3C5291E72F55}" destId="{35502BFB-DEC8-2747-A2E5-040B7E2555A9}" srcOrd="2" destOrd="0" parTransId="{78B4480B-6D55-B447-9D75-4F75FC2444E6}" sibTransId="{900FB647-C8D3-3F4A-AEED-06A661BEEAAF}"/>
    <dgm:cxn modelId="{107533E6-9D42-7348-8155-1A2E8CAB775E}" srcId="{1E639E4B-B303-654E-ACC9-BF166A90D98A}" destId="{1801A9ED-C318-9345-AAF5-2F81FFC8BABB}" srcOrd="1" destOrd="0" parTransId="{B82167F0-68E9-434B-8CD4-C9E58F64C2A0}" sibTransId="{0AB74559-FCC6-CA42-854E-D85784F71150}"/>
    <dgm:cxn modelId="{CC47CDE9-10C0-A242-9FEE-4DF43865403C}" type="presOf" srcId="{1E639E4B-B303-654E-ACC9-BF166A90D98A}" destId="{AEA7589B-5471-9747-BC0F-5C35E1923ECC}" srcOrd="1" destOrd="0" presId="urn:microsoft.com/office/officeart/2005/8/layout/process3"/>
    <dgm:cxn modelId="{4F725FEA-9253-E441-BA5F-A034659C7787}" srcId="{5CC92939-FE94-844C-A641-2D803934358A}" destId="{45F0F3EE-36FF-184E-ABB6-B3A24016AD88}" srcOrd="1" destOrd="0" parTransId="{8AD0C555-C434-8140-9486-E4CD04A64417}" sibTransId="{E4DCE197-4A15-F64F-B7C8-48E6E67A18E2}"/>
    <dgm:cxn modelId="{D9C515ED-38DB-6A43-BCA0-8ED0777AA127}" type="presOf" srcId="{5B1A7C39-138A-DF46-A8FC-3C5291E72F55}" destId="{67D5E597-6182-1544-A19C-D3E7CAFB730E}" srcOrd="1" destOrd="0" presId="urn:microsoft.com/office/officeart/2005/8/layout/process3"/>
    <dgm:cxn modelId="{980107F3-7B53-834B-A10A-B22174EAB310}" srcId="{B5298EC0-2AFB-DF4C-A63A-D7FAF43F3F05}" destId="{7B02F5ED-9F22-804A-84BD-E707CEC76337}" srcOrd="0" destOrd="0" parTransId="{96E01425-783D-A84C-98CC-816CD46B03A7}" sibTransId="{E9E942DD-8DA8-8843-AE74-C818E027534C}"/>
    <dgm:cxn modelId="{A55893F5-7940-BF47-8DA4-E024DDDF01B3}" srcId="{7B02F5ED-9F22-804A-84BD-E707CEC76337}" destId="{A14B38B7-5512-1B40-918C-64EDAAA50092}" srcOrd="0" destOrd="0" parTransId="{7FD2A266-237E-E24C-A18C-DAF2B64C5B3E}" sibTransId="{BED264E4-F1A2-C24D-BA11-2750C468A0E2}"/>
    <dgm:cxn modelId="{ECCF42FD-6EB7-2544-95FA-B3D5615132F8}" srcId="{B5298EC0-2AFB-DF4C-A63A-D7FAF43F3F05}" destId="{5B1A7C39-138A-DF46-A8FC-3C5291E72F55}" srcOrd="1" destOrd="0" parTransId="{73F24DF0-A899-7142-B39F-13F477050FA9}" sibTransId="{4DF6289F-C8C7-9340-A815-E8ECDFD48B4D}"/>
    <dgm:cxn modelId="{6435F2FE-DD72-224F-A244-B667564AE306}" type="presOf" srcId="{87A858BF-CCAB-D141-92CF-0EBF023E4387}" destId="{0BF61498-56D3-4E48-9F3C-372C02FBBA7A}" srcOrd="0" destOrd="2" presId="urn:microsoft.com/office/officeart/2005/8/layout/process3"/>
    <dgm:cxn modelId="{8B5BA0A0-8658-AD49-B9DA-034FEB36EBDB}" type="presParOf" srcId="{DBEB9AC0-5783-BD41-8B4E-EA6586742150}" destId="{F246F465-E8A5-014B-A9F7-068E98ED9D65}" srcOrd="0" destOrd="0" presId="urn:microsoft.com/office/officeart/2005/8/layout/process3"/>
    <dgm:cxn modelId="{4F4ECE69-8F67-CF4A-AF88-E92C020C7A12}" type="presParOf" srcId="{F246F465-E8A5-014B-A9F7-068E98ED9D65}" destId="{4D13398A-EF93-334D-BC37-1A0E5E218273}" srcOrd="0" destOrd="0" presId="urn:microsoft.com/office/officeart/2005/8/layout/process3"/>
    <dgm:cxn modelId="{94D76F4E-876F-6041-BF8A-84B5F948B5FE}" type="presParOf" srcId="{F246F465-E8A5-014B-A9F7-068E98ED9D65}" destId="{2CA3928D-B32F-9843-9DAF-8374A9CCFE21}" srcOrd="1" destOrd="0" presId="urn:microsoft.com/office/officeart/2005/8/layout/process3"/>
    <dgm:cxn modelId="{7BB44AF2-52B8-3847-BA8C-F2ED9F235E84}" type="presParOf" srcId="{F246F465-E8A5-014B-A9F7-068E98ED9D65}" destId="{C3327650-9B73-4948-A0A8-4E1A1174C3A8}" srcOrd="2" destOrd="0" presId="urn:microsoft.com/office/officeart/2005/8/layout/process3"/>
    <dgm:cxn modelId="{FED4D65C-F7E7-5545-B334-1D40C2203CC7}" type="presParOf" srcId="{DBEB9AC0-5783-BD41-8B4E-EA6586742150}" destId="{819363B5-2BBE-C541-8B44-BE49A8E3DFD9}" srcOrd="1" destOrd="0" presId="urn:microsoft.com/office/officeart/2005/8/layout/process3"/>
    <dgm:cxn modelId="{0CB8C868-38C3-0444-BAD1-CF91BCD12F15}" type="presParOf" srcId="{819363B5-2BBE-C541-8B44-BE49A8E3DFD9}" destId="{2D7ED6F1-04A9-844A-92CB-A1A3AF1D8213}" srcOrd="0" destOrd="0" presId="urn:microsoft.com/office/officeart/2005/8/layout/process3"/>
    <dgm:cxn modelId="{72E03571-E430-9D4B-9143-1F9225B5E0FF}" type="presParOf" srcId="{DBEB9AC0-5783-BD41-8B4E-EA6586742150}" destId="{A4177B03-6344-EE4B-B5D6-F9E7AB56877C}" srcOrd="2" destOrd="0" presId="urn:microsoft.com/office/officeart/2005/8/layout/process3"/>
    <dgm:cxn modelId="{71061682-E237-DF48-BD39-0343AD7A3179}" type="presParOf" srcId="{A4177B03-6344-EE4B-B5D6-F9E7AB56877C}" destId="{25C6EAD3-A609-7A4E-974D-B43B02169E42}" srcOrd="0" destOrd="0" presId="urn:microsoft.com/office/officeart/2005/8/layout/process3"/>
    <dgm:cxn modelId="{9216DE8C-B4E4-604F-857F-51CCBC9AACCB}" type="presParOf" srcId="{A4177B03-6344-EE4B-B5D6-F9E7AB56877C}" destId="{67D5E597-6182-1544-A19C-D3E7CAFB730E}" srcOrd="1" destOrd="0" presId="urn:microsoft.com/office/officeart/2005/8/layout/process3"/>
    <dgm:cxn modelId="{8424A31B-4105-1D4D-A924-1DAE5D5E9367}" type="presParOf" srcId="{A4177B03-6344-EE4B-B5D6-F9E7AB56877C}" destId="{0A194224-F02A-EA48-A7E9-FED662A0DCF4}" srcOrd="2" destOrd="0" presId="urn:microsoft.com/office/officeart/2005/8/layout/process3"/>
    <dgm:cxn modelId="{299A5CB7-743D-4649-92F1-A1032F3BBB18}" type="presParOf" srcId="{DBEB9AC0-5783-BD41-8B4E-EA6586742150}" destId="{99662F04-1335-CC47-98E7-FD102F56F1C6}" srcOrd="3" destOrd="0" presId="urn:microsoft.com/office/officeart/2005/8/layout/process3"/>
    <dgm:cxn modelId="{D62F90AF-461F-624E-93AE-0E01844A598B}" type="presParOf" srcId="{99662F04-1335-CC47-98E7-FD102F56F1C6}" destId="{940954CA-9EFA-9E45-8C76-316BAA68FF1E}" srcOrd="0" destOrd="0" presId="urn:microsoft.com/office/officeart/2005/8/layout/process3"/>
    <dgm:cxn modelId="{1703B365-65EC-FC48-BA6F-AEFC65962EFA}" type="presParOf" srcId="{DBEB9AC0-5783-BD41-8B4E-EA6586742150}" destId="{B27260E4-2E86-6540-AD03-16B5DFBA7FC3}" srcOrd="4" destOrd="0" presId="urn:microsoft.com/office/officeart/2005/8/layout/process3"/>
    <dgm:cxn modelId="{E0F61DF7-D408-074A-91E0-D57D223F62BE}" type="presParOf" srcId="{B27260E4-2E86-6540-AD03-16B5DFBA7FC3}" destId="{1287D377-2E57-324C-B5C6-5B740D0A4B3F}" srcOrd="0" destOrd="0" presId="urn:microsoft.com/office/officeart/2005/8/layout/process3"/>
    <dgm:cxn modelId="{3FD23A59-AF0E-0F42-9287-82EBB44FE639}" type="presParOf" srcId="{B27260E4-2E86-6540-AD03-16B5DFBA7FC3}" destId="{84209F8C-7AE7-5243-91B8-DD77F9301375}" srcOrd="1" destOrd="0" presId="urn:microsoft.com/office/officeart/2005/8/layout/process3"/>
    <dgm:cxn modelId="{96BD9DF8-0F7F-494C-A126-79FBDBED736B}" type="presParOf" srcId="{B27260E4-2E86-6540-AD03-16B5DFBA7FC3}" destId="{B53BDFC9-CE4F-E848-9906-20D07FBF00C7}" srcOrd="2" destOrd="0" presId="urn:microsoft.com/office/officeart/2005/8/layout/process3"/>
    <dgm:cxn modelId="{A4D1FDD9-E66D-4047-A8A8-75FBEF4A5D4E}" type="presParOf" srcId="{DBEB9AC0-5783-BD41-8B4E-EA6586742150}" destId="{93C64B2D-DD1A-C841-B066-361DD6FAC640}" srcOrd="5" destOrd="0" presId="urn:microsoft.com/office/officeart/2005/8/layout/process3"/>
    <dgm:cxn modelId="{471787EF-9CA5-5745-BCD8-77E2E3D8E152}" type="presParOf" srcId="{93C64B2D-DD1A-C841-B066-361DD6FAC640}" destId="{F2BF3D5C-4183-0648-A26B-D69BF2A5EA2C}" srcOrd="0" destOrd="0" presId="urn:microsoft.com/office/officeart/2005/8/layout/process3"/>
    <dgm:cxn modelId="{9C6D8AEF-105B-6847-BCAE-1D9748F775B5}" type="presParOf" srcId="{DBEB9AC0-5783-BD41-8B4E-EA6586742150}" destId="{E6D513DD-87E0-814B-8993-A3102E147871}" srcOrd="6" destOrd="0" presId="urn:microsoft.com/office/officeart/2005/8/layout/process3"/>
    <dgm:cxn modelId="{1B328EB8-A67B-5A49-A9BD-76C37EC5FAF0}" type="presParOf" srcId="{E6D513DD-87E0-814B-8993-A3102E147871}" destId="{783BA20C-C61D-1144-A04F-796100A5D958}" srcOrd="0" destOrd="0" presId="urn:microsoft.com/office/officeart/2005/8/layout/process3"/>
    <dgm:cxn modelId="{E28100DE-DD77-4042-A8BD-B4074A61E0A2}" type="presParOf" srcId="{E6D513DD-87E0-814B-8993-A3102E147871}" destId="{FAFAD6C7-7620-3C44-A140-8FB1345F7AFA}" srcOrd="1" destOrd="0" presId="urn:microsoft.com/office/officeart/2005/8/layout/process3"/>
    <dgm:cxn modelId="{9A521655-9367-4348-B009-29B3CCBACD2C}" type="presParOf" srcId="{E6D513DD-87E0-814B-8993-A3102E147871}" destId="{1CA2429B-979D-6643-91B9-4AE71498B7B5}" srcOrd="2" destOrd="0" presId="urn:microsoft.com/office/officeart/2005/8/layout/process3"/>
    <dgm:cxn modelId="{BBC9C0F7-796C-7642-AD75-A5865B60F3FE}" type="presParOf" srcId="{DBEB9AC0-5783-BD41-8B4E-EA6586742150}" destId="{341F281A-0BDA-814C-AF91-F5B77BAC1E2A}" srcOrd="7" destOrd="0" presId="urn:microsoft.com/office/officeart/2005/8/layout/process3"/>
    <dgm:cxn modelId="{FA10C9C1-DBDD-5A44-8AD2-4FC41FFA344C}" type="presParOf" srcId="{341F281A-0BDA-814C-AF91-F5B77BAC1E2A}" destId="{5294A9AB-844A-DA43-B462-A219E24A1EE8}" srcOrd="0" destOrd="0" presId="urn:microsoft.com/office/officeart/2005/8/layout/process3"/>
    <dgm:cxn modelId="{5F9C458C-AF8A-ED4D-90C1-6AF71C16065B}" type="presParOf" srcId="{DBEB9AC0-5783-BD41-8B4E-EA6586742150}" destId="{6EEC4EE3-0420-094F-A6EF-024CC9378564}" srcOrd="8" destOrd="0" presId="urn:microsoft.com/office/officeart/2005/8/layout/process3"/>
    <dgm:cxn modelId="{21196F66-185F-D842-972C-3F1670756482}" type="presParOf" srcId="{6EEC4EE3-0420-094F-A6EF-024CC9378564}" destId="{07A6A4B5-BB1C-A74C-8971-EDDAF3E60BB8}" srcOrd="0" destOrd="0" presId="urn:microsoft.com/office/officeart/2005/8/layout/process3"/>
    <dgm:cxn modelId="{41F51BD7-2D25-514D-A393-F342753B837E}" type="presParOf" srcId="{6EEC4EE3-0420-094F-A6EF-024CC9378564}" destId="{AEA7589B-5471-9747-BC0F-5C35E1923ECC}" srcOrd="1" destOrd="0" presId="urn:microsoft.com/office/officeart/2005/8/layout/process3"/>
    <dgm:cxn modelId="{A825B332-73D3-4E42-BD61-F77650FD9425}" type="presParOf" srcId="{6EEC4EE3-0420-094F-A6EF-024CC9378564}" destId="{0BF61498-56D3-4E48-9F3C-372C02FBBA7A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A3928D-B32F-9843-9DAF-8374A9CCFE21}">
      <dsp:nvSpPr>
        <dsp:cNvPr id="0" name=""/>
        <dsp:cNvSpPr/>
      </dsp:nvSpPr>
      <dsp:spPr>
        <a:xfrm>
          <a:off x="6683" y="4612"/>
          <a:ext cx="1508006" cy="1123200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Детектор людей</a:t>
          </a:r>
        </a:p>
      </dsp:txBody>
      <dsp:txXfrm>
        <a:off x="6683" y="4612"/>
        <a:ext cx="1508006" cy="603202"/>
      </dsp:txXfrm>
    </dsp:sp>
    <dsp:sp modelId="{C3327650-9B73-4948-A0A8-4E1A1174C3A8}">
      <dsp:nvSpPr>
        <dsp:cNvPr id="0" name=""/>
        <dsp:cNvSpPr/>
      </dsp:nvSpPr>
      <dsp:spPr>
        <a:xfrm>
          <a:off x="315552" y="607814"/>
          <a:ext cx="1508006" cy="1497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YOLOV5 (L</a:t>
          </a: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+</a:t>
          </a: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Ансамбль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Crop*</a:t>
          </a: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 людей на кадре</a:t>
          </a:r>
        </a:p>
      </dsp:txBody>
      <dsp:txXfrm>
        <a:off x="359415" y="651677"/>
        <a:ext cx="1420280" cy="1409874"/>
      </dsp:txXfrm>
    </dsp:sp>
    <dsp:sp modelId="{819363B5-2BBE-C541-8B44-BE49A8E3DFD9}">
      <dsp:nvSpPr>
        <dsp:cNvPr id="0" name=""/>
        <dsp:cNvSpPr/>
      </dsp:nvSpPr>
      <dsp:spPr>
        <a:xfrm>
          <a:off x="1743298" y="118488"/>
          <a:ext cx="484649" cy="3754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43298" y="193578"/>
        <a:ext cx="372014" cy="225269"/>
      </dsp:txXfrm>
    </dsp:sp>
    <dsp:sp modelId="{67D5E597-6182-1544-A19C-D3E7CAFB730E}">
      <dsp:nvSpPr>
        <dsp:cNvPr id="0" name=""/>
        <dsp:cNvSpPr/>
      </dsp:nvSpPr>
      <dsp:spPr>
        <a:xfrm>
          <a:off x="2429123" y="4612"/>
          <a:ext cx="1508006" cy="1123200"/>
        </a:xfrm>
        <a:prstGeom prst="roundRect">
          <a:avLst>
            <a:gd name="adj" fmla="val 10000"/>
          </a:avLst>
        </a:prstGeom>
        <a:solidFill>
          <a:schemeClr val="accent5">
            <a:hueOff val="-1067480"/>
            <a:satOff val="11992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Определение позы</a:t>
          </a:r>
        </a:p>
      </dsp:txBody>
      <dsp:txXfrm>
        <a:off x="2429123" y="4612"/>
        <a:ext cx="1508006" cy="603202"/>
      </dsp:txXfrm>
    </dsp:sp>
    <dsp:sp modelId="{0A194224-F02A-EA48-A7E9-FED662A0DCF4}">
      <dsp:nvSpPr>
        <dsp:cNvPr id="0" name=""/>
        <dsp:cNvSpPr/>
      </dsp:nvSpPr>
      <dsp:spPr>
        <a:xfrm>
          <a:off x="2737991" y="607814"/>
          <a:ext cx="1508006" cy="1497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1067480"/>
              <a:satOff val="11992"/>
              <a:lumOff val="-43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>
              <a:latin typeface="Arial" panose="020B0604020202020204" pitchFamily="34" charset="0"/>
              <a:cs typeface="Arial" panose="020B0604020202020204" pitchFamily="34" charset="0"/>
            </a:rPr>
            <a:t>OpenPose</a:t>
          </a:r>
          <a:endParaRPr lang="ru-RU" sz="1400" i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Предобуч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Координаты конечностей</a:t>
          </a:r>
        </a:p>
      </dsp:txBody>
      <dsp:txXfrm>
        <a:off x="2781854" y="651677"/>
        <a:ext cx="1420280" cy="1409874"/>
      </dsp:txXfrm>
    </dsp:sp>
    <dsp:sp modelId="{99662F04-1335-CC47-98E7-FD102F56F1C6}">
      <dsp:nvSpPr>
        <dsp:cNvPr id="0" name=""/>
        <dsp:cNvSpPr/>
      </dsp:nvSpPr>
      <dsp:spPr>
        <a:xfrm>
          <a:off x="4165737" y="118488"/>
          <a:ext cx="484649" cy="3754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1423307"/>
            <a:satOff val="15989"/>
            <a:lumOff val="-575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00" kern="1200"/>
        </a:p>
      </dsp:txBody>
      <dsp:txXfrm>
        <a:off x="4165737" y="193578"/>
        <a:ext cx="372014" cy="225269"/>
      </dsp:txXfrm>
    </dsp:sp>
    <dsp:sp modelId="{84209F8C-7AE7-5243-91B8-DD77F9301375}">
      <dsp:nvSpPr>
        <dsp:cNvPr id="0" name=""/>
        <dsp:cNvSpPr/>
      </dsp:nvSpPr>
      <dsp:spPr>
        <a:xfrm>
          <a:off x="4851562" y="4612"/>
          <a:ext cx="1508006" cy="1123200"/>
        </a:xfrm>
        <a:prstGeom prst="roundRect">
          <a:avLst>
            <a:gd name="adj" fmla="val 10000"/>
          </a:avLst>
        </a:prstGeom>
        <a:solidFill>
          <a:schemeClr val="accent5">
            <a:hueOff val="-2134960"/>
            <a:satOff val="23984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Трекер людей     в потоке</a:t>
          </a:r>
        </a:p>
      </dsp:txBody>
      <dsp:txXfrm>
        <a:off x="4851562" y="4612"/>
        <a:ext cx="1508006" cy="603202"/>
      </dsp:txXfrm>
    </dsp:sp>
    <dsp:sp modelId="{B53BDFC9-CE4F-E848-9906-20D07FBF00C7}">
      <dsp:nvSpPr>
        <dsp:cNvPr id="0" name=""/>
        <dsp:cNvSpPr/>
      </dsp:nvSpPr>
      <dsp:spPr>
        <a:xfrm>
          <a:off x="5160431" y="607814"/>
          <a:ext cx="1508006" cy="1497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134960"/>
              <a:satOff val="23984"/>
              <a:lumOff val="-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>
              <a:latin typeface="Arial" panose="020B0604020202020204" pitchFamily="34" charset="0"/>
              <a:cs typeface="Arial" panose="020B0604020202020204" pitchFamily="34" charset="0"/>
            </a:rPr>
            <a:t>DeepSort</a:t>
          </a:r>
          <a:endParaRPr lang="ru-RU" sz="1400" i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Дообучение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Связь </a:t>
          </a:r>
          <a:r>
            <a:rPr lang="en-US" sz="1400" i="1" kern="1200" dirty="0">
              <a:latin typeface="Arial" panose="020B0604020202020204" pitchFamily="34" charset="0"/>
              <a:cs typeface="Arial" panose="020B0604020202020204" pitchFamily="34" charset="0"/>
            </a:rPr>
            <a:t>ID</a:t>
          </a: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 по кадрам</a:t>
          </a:r>
        </a:p>
      </dsp:txBody>
      <dsp:txXfrm>
        <a:off x="5204294" y="651677"/>
        <a:ext cx="1420280" cy="1409874"/>
      </dsp:txXfrm>
    </dsp:sp>
    <dsp:sp modelId="{93C64B2D-DD1A-C841-B066-361DD6FAC640}">
      <dsp:nvSpPr>
        <dsp:cNvPr id="0" name=""/>
        <dsp:cNvSpPr/>
      </dsp:nvSpPr>
      <dsp:spPr>
        <a:xfrm>
          <a:off x="6588177" y="118488"/>
          <a:ext cx="484649" cy="3754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2846614"/>
            <a:satOff val="31979"/>
            <a:lumOff val="-1150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588177" y="193578"/>
        <a:ext cx="372014" cy="225269"/>
      </dsp:txXfrm>
    </dsp:sp>
    <dsp:sp modelId="{FAFAD6C7-7620-3C44-A140-8FB1345F7AFA}">
      <dsp:nvSpPr>
        <dsp:cNvPr id="0" name=""/>
        <dsp:cNvSpPr/>
      </dsp:nvSpPr>
      <dsp:spPr>
        <a:xfrm>
          <a:off x="7274001" y="4612"/>
          <a:ext cx="1508006" cy="1123200"/>
        </a:xfrm>
        <a:prstGeom prst="roundRect">
          <a:avLst>
            <a:gd name="adj" fmla="val 10000"/>
          </a:avLst>
        </a:prstGeom>
        <a:solidFill>
          <a:schemeClr val="accent5">
            <a:hueOff val="-3202440"/>
            <a:satOff val="35976"/>
            <a:lumOff val="-1294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Классификация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СИЗ</a:t>
          </a:r>
        </a:p>
      </dsp:txBody>
      <dsp:txXfrm>
        <a:off x="7274001" y="4612"/>
        <a:ext cx="1508006" cy="603202"/>
      </dsp:txXfrm>
    </dsp:sp>
    <dsp:sp modelId="{1CA2429B-979D-6643-91B9-4AE71498B7B5}">
      <dsp:nvSpPr>
        <dsp:cNvPr id="0" name=""/>
        <dsp:cNvSpPr/>
      </dsp:nvSpPr>
      <dsp:spPr>
        <a:xfrm>
          <a:off x="7582870" y="607814"/>
          <a:ext cx="1508006" cy="1497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3202440"/>
              <a:satOff val="35976"/>
              <a:lumOff val="-129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>
              <a:latin typeface="Arial" panose="020B0604020202020204" pitchFamily="34" charset="0"/>
              <a:cs typeface="Arial" panose="020B0604020202020204" pitchFamily="34" charset="0"/>
            </a:rPr>
            <a:t>MobileNetV3</a:t>
          </a:r>
          <a:endParaRPr lang="ru-RU" sz="1400" i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Дообучение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Класс на координаты</a:t>
          </a:r>
        </a:p>
      </dsp:txBody>
      <dsp:txXfrm>
        <a:off x="7626733" y="651677"/>
        <a:ext cx="1420280" cy="1409874"/>
      </dsp:txXfrm>
    </dsp:sp>
    <dsp:sp modelId="{341F281A-0BDA-814C-AF91-F5B77BAC1E2A}">
      <dsp:nvSpPr>
        <dsp:cNvPr id="0" name=""/>
        <dsp:cNvSpPr/>
      </dsp:nvSpPr>
      <dsp:spPr>
        <a:xfrm>
          <a:off x="9010616" y="118488"/>
          <a:ext cx="484649" cy="3754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4269921"/>
            <a:satOff val="47968"/>
            <a:lumOff val="-1725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00" kern="1200"/>
        </a:p>
      </dsp:txBody>
      <dsp:txXfrm>
        <a:off x="9010616" y="193578"/>
        <a:ext cx="372014" cy="225269"/>
      </dsp:txXfrm>
    </dsp:sp>
    <dsp:sp modelId="{AEA7589B-5471-9747-BC0F-5C35E1923ECC}">
      <dsp:nvSpPr>
        <dsp:cNvPr id="0" name=""/>
        <dsp:cNvSpPr/>
      </dsp:nvSpPr>
      <dsp:spPr>
        <a:xfrm>
          <a:off x="9696441" y="4612"/>
          <a:ext cx="1508006" cy="1123200"/>
        </a:xfrm>
        <a:prstGeom prst="roundRect">
          <a:avLst>
            <a:gd name="adj" fmla="val 10000"/>
          </a:avLst>
        </a:prstGeom>
        <a:solidFill>
          <a:schemeClr val="accent5">
            <a:hueOff val="-4269921"/>
            <a:satOff val="47968"/>
            <a:lumOff val="-17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i="0" kern="1200" dirty="0">
              <a:latin typeface="Arial" panose="020B0604020202020204" pitchFamily="34" charset="0"/>
              <a:cs typeface="Arial" panose="020B0604020202020204" pitchFamily="34" charset="0"/>
            </a:rPr>
            <a:t>Обработка результатов</a:t>
          </a:r>
        </a:p>
      </dsp:txBody>
      <dsp:txXfrm>
        <a:off x="9696441" y="4612"/>
        <a:ext cx="1508006" cy="603202"/>
      </dsp:txXfrm>
    </dsp:sp>
    <dsp:sp modelId="{0BF61498-56D3-4E48-9F3C-372C02FBBA7A}">
      <dsp:nvSpPr>
        <dsp:cNvPr id="0" name=""/>
        <dsp:cNvSpPr/>
      </dsp:nvSpPr>
      <dsp:spPr>
        <a:xfrm>
          <a:off x="10005310" y="607814"/>
          <a:ext cx="1508006" cy="1497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4269921"/>
              <a:satOff val="47968"/>
              <a:lumOff val="-172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Трешхолд тончайший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Счетник на снятие СИЗ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i="1" kern="1200" dirty="0">
              <a:latin typeface="Arial" panose="020B0604020202020204" pitchFamily="34" charset="0"/>
              <a:cs typeface="Arial" panose="020B0604020202020204" pitchFamily="34" charset="0"/>
            </a:rPr>
            <a:t>Прочие мелочи</a:t>
          </a:r>
        </a:p>
      </dsp:txBody>
      <dsp:txXfrm>
        <a:off x="10049173" y="651677"/>
        <a:ext cx="1420280" cy="14098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270937-4A6A-4A2E-9E90-E0472E102FF5}" type="datetimeFigureOut">
              <a:rPr lang="en-US" smtClean="0"/>
              <a:t>10/29/21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51388"/>
            <a:ext cx="5438775" cy="38877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00191-3E52-4F70-AE62-7D2415F757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87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9816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4946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19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733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728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4733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0054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334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8748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2936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0191-3E52-4F70-AE62-7D2415F757C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901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5F33-4A55-45C2-B45D-7BCA48577287}" type="datetime1">
              <a:rPr lang="ru-RU" smtClean="0"/>
              <a:t>29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331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82BF9-A497-42A3-9277-7A67B1DA311B}" type="datetime1">
              <a:rPr lang="ru-RU" smtClean="0"/>
              <a:t>29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1483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43F3A-3340-41E1-9F46-6AF131FF009F}" type="datetime1">
              <a:rPr lang="ru-RU" smtClean="0"/>
              <a:t>29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39260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F872D-01C6-4CFD-BADE-588D78FE0657}" type="datetime1">
              <a:rPr lang="ru-RU" smtClean="0"/>
              <a:t>29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6177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3B4808-1B0E-4265-B4FA-23A4700D2FC8}" type="datetime1">
              <a:rPr lang="ru-RU" smtClean="0"/>
              <a:t>29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2647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04A5B8-5561-463A-A550-B5621B7C10F0}" type="datetime1">
              <a:rPr lang="ru-RU" smtClean="0"/>
              <a:t>29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18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21E5D-2555-471C-A66A-B6A486D27544}" type="datetime1">
              <a:rPr lang="ru-RU" smtClean="0"/>
              <a:t>29.10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2220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41F1C-35D0-4784-81F7-C8A1848464EF}" type="datetime1">
              <a:rPr lang="ru-RU" smtClean="0"/>
              <a:t>29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459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1B963-B891-4D89-A3F1-19462EC91566}" type="datetime1">
              <a:rPr lang="ru-RU" smtClean="0"/>
              <a:t>29.10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141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08A85-35F9-4FF4-8416-F0572192B170}" type="datetime1">
              <a:rPr lang="ru-RU" smtClean="0"/>
              <a:t>29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6593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8F5E9-6463-4E75-97D3-816375BF0C29}" type="datetime1">
              <a:rPr lang="ru-RU" smtClean="0"/>
              <a:t>29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212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52814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" name="Слайд think-cell" r:id="rId16" imgW="473" imgH="473" progId="TCLayout.ActiveDocument.1">
                  <p:embed/>
                </p:oleObj>
              </mc:Choice>
              <mc:Fallback>
                <p:oleObj name="Слайд think-cell" r:id="rId1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59B3D-11A6-41FB-8DFA-809930E2CB12}" type="datetime1">
              <a:rPr lang="ru-RU" smtClean="0"/>
              <a:t>29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071FC5-B3EC-4A2E-B4C7-79B5CD3EAC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092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andb.ai/khubbatulinm/YOLOv5?workspace=user-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tiff"/><Relationship Id="rId5" Type="http://schemas.openxmlformats.org/officeDocument/2006/relationships/image" Target="../media/image8.tiff"/><Relationship Id="rId4" Type="http://schemas.openxmlformats.org/officeDocument/2006/relationships/image" Target="../media/image7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11">
            <a:extLst>
              <a:ext uri="{FF2B5EF4-FFF2-40B4-BE49-F238E27FC236}">
                <a16:creationId xmlns:a16="http://schemas.microsoft.com/office/drawing/2014/main" id="{41AF4376-1E9B-EE48-9CAD-FF373E53C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303156"/>
              </p:ext>
            </p:extLst>
          </p:nvPr>
        </p:nvGraphicFramePr>
        <p:xfrm>
          <a:off x="356788" y="1439998"/>
          <a:ext cx="11478424" cy="5038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78424">
                  <a:extLst>
                    <a:ext uri="{9D8B030D-6E8A-4147-A177-3AD203B41FA5}">
                      <a16:colId xmlns:a16="http://schemas.microsoft.com/office/drawing/2014/main" val="4190024175"/>
                    </a:ext>
                  </a:extLst>
                </a:gridCol>
              </a:tblGrid>
              <a:tr h="5038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2 КОМПЬЮТЕРНОЕ ЗРЕНИЕ ДЛЯ КОНТРОЛЯ ОПАСНЫХ ЗОН АГЛОМАШИНЫ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делано с любовью</a:t>
                      </a: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0289563"/>
                  </a:ext>
                </a:extLst>
              </a:tr>
            </a:tbl>
          </a:graphicData>
        </a:graphic>
      </p:graphicFrame>
      <p:pic>
        <p:nvPicPr>
          <p:cNvPr id="4098" name="Picture 2" descr="Pin by Sarah Holley on words | Pretty words, Words matter, Words prints">
            <a:extLst>
              <a:ext uri="{FF2B5EF4-FFF2-40B4-BE49-F238E27FC236}">
                <a16:creationId xmlns:a16="http://schemas.microsoft.com/office/drawing/2014/main" id="{E0DF1367-6D7D-B940-898E-5EFF56285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439" y="1439998"/>
            <a:ext cx="7279121" cy="36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16314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0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Что еще сделали и что надо бы сделать?</a:t>
            </a:r>
          </a:p>
        </p:txBody>
      </p:sp>
      <p:graphicFrame>
        <p:nvGraphicFramePr>
          <p:cNvPr id="5" name="Таблица 3">
            <a:extLst>
              <a:ext uri="{FF2B5EF4-FFF2-40B4-BE49-F238E27FC236}">
                <a16:creationId xmlns:a16="http://schemas.microsoft.com/office/drawing/2014/main" id="{F0CD4B3C-1C56-F745-9850-AE6A71CDA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05638"/>
              </p:ext>
            </p:extLst>
          </p:nvPr>
        </p:nvGraphicFramePr>
        <p:xfrm>
          <a:off x="315210" y="1439996"/>
          <a:ext cx="11520000" cy="4914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20000">
                  <a:extLst>
                    <a:ext uri="{9D8B030D-6E8A-4147-A177-3AD203B41FA5}">
                      <a16:colId xmlns:a16="http://schemas.microsoft.com/office/drawing/2014/main" val="3126954824"/>
                    </a:ext>
                  </a:extLst>
                </a:gridCol>
              </a:tblGrid>
              <a:tr h="14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делали емко и кратко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тренили </a:t>
                      </a:r>
                      <a:r>
                        <a:rPr lang="ru-RU" u="none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3"/>
                        </a:rPr>
                        <a:t>кучу </a:t>
                      </a:r>
                      <a:r>
                        <a:rPr lang="en-US" u="none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3"/>
                        </a:rPr>
                        <a:t>YOLO-</a:t>
                      </a:r>
                      <a:r>
                        <a:rPr lang="ru-RU" u="none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3"/>
                        </a:rPr>
                        <a:t>моделей</a:t>
                      </a:r>
                      <a:r>
                        <a:rPr lang="ru-RU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женили их в ансамбле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йнтюнили до безумия и подбирали тонкости настроек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исовали презентацию с мемами и котиками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u="non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132519"/>
                  </a:ext>
                </a:extLst>
              </a:tr>
              <a:tr h="1461600">
                <a:tc>
                  <a:txBody>
                    <a:bodyPr/>
                    <a:lstStyle/>
                    <a:p>
                      <a:r>
                        <a:rPr lang="ru-RU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то нужно обязательно сделать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колотить в пайплайн детектирование СИЗ и вообще собрать его под интересантов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ределить опасную ситуацию флешмобами и реакцией от бизнеса более точно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ределить точнее метрики для </a:t>
                      </a:r>
                      <a:r>
                        <a:rPr lang="en-US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P </a:t>
                      </a: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</a:t>
                      </a:r>
                      <a:r>
                        <a:rPr lang="en-US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N </a:t>
                      </a: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рамках кейсов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u="non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u="non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9551933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r>
                        <a:rPr lang="ru-RU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то можно необязательно сделать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дохнуть на ближайших праздника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04877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96142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1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отик люто решает хакатон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2" descr="Сидим и работаем из дома 2.0">
            <a:extLst>
              <a:ext uri="{FF2B5EF4-FFF2-40B4-BE49-F238E27FC236}">
                <a16:creationId xmlns:a16="http://schemas.microsoft.com/office/drawing/2014/main" id="{00A34B5B-38B7-924A-8140-96A916F2C7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1524000"/>
            <a:ext cx="762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523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2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ак раскидали бизнес-описание для кейса хакатона?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15A6078-92C3-8A40-9B57-80F93D6BBE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000" y="1439997"/>
            <a:ext cx="10080000" cy="4776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192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3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ак мы попробовали добыть чуть больше данных?</a:t>
            </a:r>
          </a:p>
        </p:txBody>
      </p:sp>
      <p:graphicFrame>
        <p:nvGraphicFramePr>
          <p:cNvPr id="6" name="Таблица 3">
            <a:extLst>
              <a:ext uri="{FF2B5EF4-FFF2-40B4-BE49-F238E27FC236}">
                <a16:creationId xmlns:a16="http://schemas.microsoft.com/office/drawing/2014/main" id="{7C5BBAAC-0626-9A42-A045-1F462E0177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7838375"/>
              </p:ext>
            </p:extLst>
          </p:nvPr>
        </p:nvGraphicFramePr>
        <p:xfrm>
          <a:off x="315210" y="1439997"/>
          <a:ext cx="11520000" cy="4917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000">
                  <a:extLst>
                    <a:ext uri="{9D8B030D-6E8A-4147-A177-3AD203B41FA5}">
                      <a16:colId xmlns:a16="http://schemas.microsoft.com/office/drawing/2014/main" val="3126954824"/>
                    </a:ext>
                  </a:extLst>
                </a:gridCol>
                <a:gridCol w="5760000">
                  <a:extLst>
                    <a:ext uri="{9D8B030D-6E8A-4147-A177-3AD203B41FA5}">
                      <a16:colId xmlns:a16="http://schemas.microsoft.com/office/drawing/2014/main" val="2820894179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чество внешнего датасет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чество внутреннего датасет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132519"/>
                  </a:ext>
                </a:extLst>
              </a:tr>
              <a:tr h="3600000"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834432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5 </a:t>
                      </a:r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кадров, объекты близко,</a:t>
                      </a:r>
                    </a:p>
                    <a:p>
                      <a:pPr algn="ctr"/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ая контрастность и яркость, разные цвет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</a:t>
                      </a:r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ов, объекты на разном расстояний,</a:t>
                      </a:r>
                    </a:p>
                    <a:p>
                      <a:pPr algn="ctr"/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ая контрастность и яркость, оттенки серого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4643257"/>
                  </a:ext>
                </a:extLst>
              </a:tr>
            </a:tbl>
          </a:graphicData>
        </a:graphic>
      </p:graphicFrame>
      <p:pic>
        <p:nvPicPr>
          <p:cNvPr id="3" name="Рисунок 2" descr="Изображение выглядит как человек, внешний, рабочая одежда&#10;&#10;Автоматически созданное описание">
            <a:extLst>
              <a:ext uri="{FF2B5EF4-FFF2-40B4-BE49-F238E27FC236}">
                <a16:creationId xmlns:a16="http://schemas.microsoft.com/office/drawing/2014/main" id="{A216A731-DB1B-7649-B74E-34A1D9CEA655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94" y="1924878"/>
            <a:ext cx="4896000" cy="3600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41A405F-C0D2-2B4E-A40F-CD69C37AEE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283" y="1924878"/>
            <a:ext cx="4036364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669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4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Что в итоге творили с данными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7FB012-51AA-9848-BDFA-48BC1EB83178}"/>
              </a:ext>
            </a:extLst>
          </p:cNvPr>
          <p:cNvSpPr txBox="1"/>
          <p:nvPr/>
        </p:nvSpPr>
        <p:spPr>
          <a:xfrm>
            <a:off x="336000" y="1439612"/>
            <a:ext cx="11561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разметке 500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трей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150 тест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фото, из-за тайн и сомнений отсмотрели все глазками</a:t>
            </a:r>
          </a:p>
        </p:txBody>
      </p:sp>
      <p:pic>
        <p:nvPicPr>
          <p:cNvPr id="9" name="Picture 4" descr="биг дата? я осмотрю глазами..., Мем чак норрис - Рисовач .Ру">
            <a:extLst>
              <a:ext uri="{FF2B5EF4-FFF2-40B4-BE49-F238E27FC236}">
                <a16:creationId xmlns:a16="http://schemas.microsoft.com/office/drawing/2014/main" id="{518FC93B-33A2-574E-9C2B-24DB89ED1C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0" r="7364" b="2724"/>
          <a:stretch/>
        </p:blipFill>
        <p:spPr bwMode="auto">
          <a:xfrm>
            <a:off x="356788" y="4858160"/>
            <a:ext cx="1868905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4A010AC-F61F-A849-852A-11CCC577F2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5212" y="1978160"/>
            <a:ext cx="5120000" cy="2880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46003EF-38B9-7240-9550-E1BCB2CECD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8024" y="2538388"/>
            <a:ext cx="5120000" cy="2880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9299274-B397-3B49-898A-4029E25912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6109" y="3587376"/>
            <a:ext cx="5120000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90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5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Таблица 3">
            <a:extLst>
              <a:ext uri="{FF2B5EF4-FFF2-40B4-BE49-F238E27FC236}">
                <a16:creationId xmlns:a16="http://schemas.microsoft.com/office/drawing/2014/main" id="{19D4E08A-A370-014B-AA0F-69851717F7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99837"/>
              </p:ext>
            </p:extLst>
          </p:nvPr>
        </p:nvGraphicFramePr>
        <p:xfrm>
          <a:off x="315210" y="1439996"/>
          <a:ext cx="11520000" cy="34334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000">
                  <a:extLst>
                    <a:ext uri="{9D8B030D-6E8A-4147-A177-3AD203B41FA5}">
                      <a16:colId xmlns:a16="http://schemas.microsoft.com/office/drawing/2014/main" val="3126954824"/>
                    </a:ext>
                  </a:extLst>
                </a:gridCol>
                <a:gridCol w="5760000">
                  <a:extLst>
                    <a:ext uri="{9D8B030D-6E8A-4147-A177-3AD203B41FA5}">
                      <a16:colId xmlns:a16="http://schemas.microsoft.com/office/drawing/2014/main" val="3550215662"/>
                    </a:ext>
                  </a:extLst>
                </a:gridCol>
              </a:tblGrid>
              <a:tr h="367200">
                <a:tc gridSpan="2"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Tx/>
                        <a:buNone/>
                      </a:pPr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менили быстрый алгоритм фильтра нелокального среднего – очищаем кадры для большей точности</a:t>
                      </a:r>
                    </a:p>
                    <a:p>
                      <a:pPr marL="0" indent="0" algn="l" defTabSz="914400" rtl="0" eaLnBrk="1" latinLnBrk="0" hangingPunct="1">
                        <a:buFontTx/>
                        <a:buNone/>
                      </a:pP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 defTabSz="914400" rtl="0" eaLnBrk="1" latinLnBrk="0" hangingPunct="1">
                        <a:buFontTx/>
                        <a:buNone/>
                      </a:pPr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 минорный, но будущий ресерч может дать добра с учетом шумной обстановки вокруг объектов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789171"/>
                  </a:ext>
                </a:extLst>
              </a:tr>
              <a:tr h="2519082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Tx/>
                        <a:buNone/>
                      </a:pP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7164195"/>
                  </a:ext>
                </a:extLst>
              </a:tr>
            </a:tbl>
          </a:graphicData>
        </a:graphic>
      </p:graphicFrame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акие алгоритмы тех зрения попробовали для улучшения?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724B689-22F2-0842-A3E8-98C4C58415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954" y="2658659"/>
            <a:ext cx="5023256" cy="2880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1501E80-DA14-7946-A6A6-B563C90DDDA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8"/>
          <a:stretch/>
        </p:blipFill>
        <p:spPr>
          <a:xfrm>
            <a:off x="6075210" y="4467733"/>
            <a:ext cx="5119053" cy="186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4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6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акой пайплайн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s is – </a:t>
            </a:r>
            <a:r>
              <a:rPr lang="en-US" sz="2800" i="1" dirty="0"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r>
              <a:rPr lang="ru-RU" sz="2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получился? 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FE405C40-2895-4A42-828E-D03FBFC6F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1212993"/>
              </p:ext>
            </p:extLst>
          </p:nvPr>
        </p:nvGraphicFramePr>
        <p:xfrm>
          <a:off x="315210" y="1439997"/>
          <a:ext cx="11520000" cy="5029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20000">
                  <a:extLst>
                    <a:ext uri="{9D8B030D-6E8A-4147-A177-3AD203B41FA5}">
                      <a16:colId xmlns:a16="http://schemas.microsoft.com/office/drawing/2014/main" val="3126954824"/>
                    </a:ext>
                  </a:extLst>
                </a:gridCol>
              </a:tblGrid>
              <a:tr h="2782654">
                <a:tc>
                  <a:txBody>
                    <a:bodyPr/>
                    <a:lstStyle/>
                    <a:p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ем с батчами в формате накопления – условный 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l time </a:t>
                      </a:r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устойчивость перед сетевыми сбоями</a:t>
                      </a: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132519"/>
                  </a:ext>
                </a:extLst>
              </a:tr>
            </a:tbl>
          </a:graphicData>
        </a:graphic>
      </p:graphicFrame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837BAEE4-76B0-7C4B-8FF8-7C9FEFFA67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9682924"/>
              </p:ext>
            </p:extLst>
          </p:nvPr>
        </p:nvGraphicFramePr>
        <p:xfrm>
          <a:off x="356788" y="1928450"/>
          <a:ext cx="11520000" cy="21100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773E830-AC83-1E4B-999B-0D96E1544CCA}"/>
              </a:ext>
            </a:extLst>
          </p:cNvPr>
          <p:cNvGrpSpPr/>
          <p:nvPr/>
        </p:nvGrpSpPr>
        <p:grpSpPr>
          <a:xfrm>
            <a:off x="2757514" y="4203436"/>
            <a:ext cx="1508006" cy="1123200"/>
            <a:chOff x="2429123" y="4612"/>
            <a:chExt cx="1508006" cy="1123200"/>
          </a:xfrm>
        </p:grpSpPr>
        <p:sp>
          <p:nvSpPr>
            <p:cNvPr id="10" name="Скругленный прямоугольник 9">
              <a:extLst>
                <a:ext uri="{FF2B5EF4-FFF2-40B4-BE49-F238E27FC236}">
                  <a16:creationId xmlns:a16="http://schemas.microsoft.com/office/drawing/2014/main" id="{C53E65BB-0BDA-2F43-A9FA-8D1E2E2F1A51}"/>
                </a:ext>
              </a:extLst>
            </p:cNvPr>
            <p:cNvSpPr/>
            <p:nvPr/>
          </p:nvSpPr>
          <p:spPr>
            <a:xfrm>
              <a:off x="2429123" y="4612"/>
              <a:ext cx="1508006" cy="1123200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1067480"/>
                <a:satOff val="11992"/>
                <a:lumOff val="-4314"/>
                <a:alphaOff val="0"/>
              </a:schemeClr>
            </a:fillRef>
            <a:effectRef idx="0">
              <a:schemeClr val="accent5">
                <a:hueOff val="-1067480"/>
                <a:satOff val="11992"/>
                <a:lumOff val="-4314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>
              <a:extLst>
                <a:ext uri="{FF2B5EF4-FFF2-40B4-BE49-F238E27FC236}">
                  <a16:creationId xmlns:a16="http://schemas.microsoft.com/office/drawing/2014/main" id="{D3897DB7-0834-D749-90D9-C22CA508EAC0}"/>
                </a:ext>
              </a:extLst>
            </p:cNvPr>
            <p:cNvSpPr txBox="1"/>
            <p:nvPr/>
          </p:nvSpPr>
          <p:spPr>
            <a:xfrm>
              <a:off x="2429123" y="4612"/>
              <a:ext cx="1508006" cy="6032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568" tIns="99568" rIns="99568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Статическая зона</a:t>
              </a:r>
              <a:endParaRPr lang="ru-RU" sz="14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703F769-6E29-B540-B0BC-A9404770DED5}"/>
              </a:ext>
            </a:extLst>
          </p:cNvPr>
          <p:cNvGrpSpPr/>
          <p:nvPr/>
        </p:nvGrpSpPr>
        <p:grpSpPr>
          <a:xfrm>
            <a:off x="3066382" y="4806638"/>
            <a:ext cx="1508006" cy="1497600"/>
            <a:chOff x="2737991" y="607814"/>
            <a:chExt cx="1508006" cy="1497600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367C042E-A8F0-A845-B5AE-769274B87CAB}"/>
                </a:ext>
              </a:extLst>
            </p:cNvPr>
            <p:cNvSpPr/>
            <p:nvPr/>
          </p:nvSpPr>
          <p:spPr>
            <a:xfrm>
              <a:off x="2737991" y="607814"/>
              <a:ext cx="1508006" cy="149760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5">
                <a:hueOff val="-1067480"/>
                <a:satOff val="11992"/>
                <a:lumOff val="-4314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Скругленный прямоугольник 6">
              <a:extLst>
                <a:ext uri="{FF2B5EF4-FFF2-40B4-BE49-F238E27FC236}">
                  <a16:creationId xmlns:a16="http://schemas.microsoft.com/office/drawing/2014/main" id="{B4A9B6F3-7C41-5E45-AE3B-E3CCAEB608BB}"/>
                </a:ext>
              </a:extLst>
            </p:cNvPr>
            <p:cNvSpPr txBox="1"/>
            <p:nvPr/>
          </p:nvSpPr>
          <p:spPr>
            <a:xfrm>
              <a:off x="2781854" y="651677"/>
              <a:ext cx="1420280" cy="14098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99568" rIns="99568" bIns="99568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4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Полигоны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4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Эвристики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Статус зоны пересечения </a:t>
              </a:r>
              <a:endParaRPr lang="ru-RU" sz="14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Стрелка углом вверх 3">
            <a:extLst>
              <a:ext uri="{FF2B5EF4-FFF2-40B4-BE49-F238E27FC236}">
                <a16:creationId xmlns:a16="http://schemas.microsoft.com/office/drawing/2014/main" id="{F0927701-6379-9744-A86D-40B58C81B805}"/>
              </a:ext>
            </a:extLst>
          </p:cNvPr>
          <p:cNvSpPr/>
          <p:nvPr/>
        </p:nvSpPr>
        <p:spPr>
          <a:xfrm rot="5400000">
            <a:off x="1963938" y="4229674"/>
            <a:ext cx="642662" cy="590186"/>
          </a:xfrm>
          <a:prstGeom prst="bentUpArrow">
            <a:avLst>
              <a:gd name="adj1" fmla="val 43394"/>
              <a:gd name="adj2" fmla="val 38045"/>
              <a:gd name="adj3" fmla="val 31408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углом вверх 12">
            <a:extLst>
              <a:ext uri="{FF2B5EF4-FFF2-40B4-BE49-F238E27FC236}">
                <a16:creationId xmlns:a16="http://schemas.microsoft.com/office/drawing/2014/main" id="{F08E7F11-9BFD-BE40-A844-1E04F613E014}"/>
              </a:ext>
            </a:extLst>
          </p:cNvPr>
          <p:cNvSpPr/>
          <p:nvPr/>
        </p:nvSpPr>
        <p:spPr>
          <a:xfrm>
            <a:off x="4574388" y="4122374"/>
            <a:ext cx="590186" cy="642662"/>
          </a:xfrm>
          <a:prstGeom prst="bentUpArrow">
            <a:avLst>
              <a:gd name="adj1" fmla="val 43394"/>
              <a:gd name="adj2" fmla="val 38045"/>
              <a:gd name="adj3" fmla="val 31408"/>
            </a:avLst>
          </a:prstGeom>
          <a:solidFill>
            <a:srgbClr val="259E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626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7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ак это упаковано с точки зрения микросервиса?</a:t>
            </a:r>
          </a:p>
        </p:txBody>
      </p:sp>
      <p:graphicFrame>
        <p:nvGraphicFramePr>
          <p:cNvPr id="7" name="Таблица 11">
            <a:extLst>
              <a:ext uri="{FF2B5EF4-FFF2-40B4-BE49-F238E27FC236}">
                <a16:creationId xmlns:a16="http://schemas.microsoft.com/office/drawing/2014/main" id="{41AF4376-1E9B-EE48-9CAD-FF373E53C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526712"/>
              </p:ext>
            </p:extLst>
          </p:nvPr>
        </p:nvGraphicFramePr>
        <p:xfrm>
          <a:off x="356788" y="1439998"/>
          <a:ext cx="11478424" cy="5038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78424">
                  <a:extLst>
                    <a:ext uri="{9D8B030D-6E8A-4147-A177-3AD203B41FA5}">
                      <a16:colId xmlns:a16="http://schemas.microsoft.com/office/drawing/2014/main" val="4190024175"/>
                    </a:ext>
                  </a:extLst>
                </a:gridCol>
              </a:tblGrid>
              <a:tr h="50381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вероятная комбинация в докере, с потенциалом приколотить толковую «стриминговую» обработку и весело слать сообщения в светлое будуще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0289563"/>
                  </a:ext>
                </a:extLst>
              </a:tr>
            </a:tbl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F50EA02C-A1F2-DF47-989C-0BC98A823AEA}"/>
              </a:ext>
            </a:extLst>
          </p:cNvPr>
          <p:cNvGrpSpPr/>
          <p:nvPr/>
        </p:nvGrpSpPr>
        <p:grpSpPr>
          <a:xfrm>
            <a:off x="311616" y="2269053"/>
            <a:ext cx="11520000" cy="2880000"/>
            <a:chOff x="315212" y="1439997"/>
            <a:chExt cx="11520000" cy="2880000"/>
          </a:xfrm>
        </p:grpSpPr>
        <p:pic>
          <p:nvPicPr>
            <p:cNvPr id="3074" name="Picture 2" descr="A practical introduction to Docker containers | Red Hat Developer">
              <a:extLst>
                <a:ext uri="{FF2B5EF4-FFF2-40B4-BE49-F238E27FC236}">
                  <a16:creationId xmlns:a16="http://schemas.microsoft.com/office/drawing/2014/main" id="{37AF717D-FEB9-CD48-99BB-F5C205EB94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212" y="1799078"/>
              <a:ext cx="2611500" cy="21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GStreamer (@gstreamer) | Twitter">
              <a:extLst>
                <a:ext uri="{FF2B5EF4-FFF2-40B4-BE49-F238E27FC236}">
                  <a16:creationId xmlns:a16="http://schemas.microsoft.com/office/drawing/2014/main" id="{291C772B-5DD8-B244-8055-D7B2B88FC1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00" y="1439997"/>
              <a:ext cx="2880000" cy="28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0" name="Picture 8" descr="FFmpeg y Libav ya soportan la codificación de H.265">
              <a:extLst>
                <a:ext uri="{FF2B5EF4-FFF2-40B4-BE49-F238E27FC236}">
                  <a16:creationId xmlns:a16="http://schemas.microsoft.com/office/drawing/2014/main" id="{F7201A6C-0A1F-5045-9465-6A76C402F7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24303" y="1799078"/>
              <a:ext cx="3010909" cy="21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Плюс 2">
              <a:extLst>
                <a:ext uri="{FF2B5EF4-FFF2-40B4-BE49-F238E27FC236}">
                  <a16:creationId xmlns:a16="http://schemas.microsoft.com/office/drawing/2014/main" id="{3AAA0165-036E-7D46-B160-806C367C3C0F}"/>
                </a:ext>
              </a:extLst>
            </p:cNvPr>
            <p:cNvSpPr/>
            <p:nvPr/>
          </p:nvSpPr>
          <p:spPr>
            <a:xfrm>
              <a:off x="3334156" y="2421878"/>
              <a:ext cx="914400" cy="914400"/>
            </a:xfrm>
            <a:prstGeom prst="mathPlus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люс 24">
              <a:extLst>
                <a:ext uri="{FF2B5EF4-FFF2-40B4-BE49-F238E27FC236}">
                  <a16:creationId xmlns:a16="http://schemas.microsoft.com/office/drawing/2014/main" id="{C45A647B-7BCD-094A-ABC9-752414FF9A11}"/>
                </a:ext>
              </a:extLst>
            </p:cNvPr>
            <p:cNvSpPr/>
            <p:nvPr/>
          </p:nvSpPr>
          <p:spPr>
            <a:xfrm>
              <a:off x="7889115" y="2421878"/>
              <a:ext cx="914400" cy="914400"/>
            </a:xfrm>
            <a:prstGeom prst="mathPlus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65726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8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Таблица 3">
            <a:extLst>
              <a:ext uri="{FF2B5EF4-FFF2-40B4-BE49-F238E27FC236}">
                <a16:creationId xmlns:a16="http://schemas.microsoft.com/office/drawing/2014/main" id="{19D4E08A-A370-014B-AA0F-69851717F7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5207141"/>
              </p:ext>
            </p:extLst>
          </p:nvPr>
        </p:nvGraphicFramePr>
        <p:xfrm>
          <a:off x="315210" y="1439996"/>
          <a:ext cx="11520000" cy="50381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20000">
                  <a:extLst>
                    <a:ext uri="{9D8B030D-6E8A-4147-A177-3AD203B41FA5}">
                      <a16:colId xmlns:a16="http://schemas.microsoft.com/office/drawing/2014/main" val="3126954824"/>
                    </a:ext>
                  </a:extLst>
                </a:gridCol>
              </a:tblGrid>
              <a:tr h="503816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ru-RU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яснения</a:t>
                      </a:r>
                      <a:endParaRPr lang="en-US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en-US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ущая сборка</a:t>
                      </a: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кросервиса оперирует ГБ </a:t>
                      </a: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U</a:t>
                      </a: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количестве камер на Гб </a:t>
                      </a: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U,</a:t>
                      </a: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данном кейсе расчет условный </a:t>
                      </a: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en-US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Hold-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асет – текущий актуальный</a:t>
                      </a: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асет, состоящий только из кадров с площадок,</a:t>
                      </a: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наибольшим охватом разных камер с флешмобов</a:t>
                      </a: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FPS 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совсем корректный термин,</a:t>
                      </a: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к как мы работаем в батч-режиме,</a:t>
                      </a: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тение из файлов не считаем, ибо есть </a:t>
                      </a: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Streamer</a:t>
                      </a: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r" defTabSz="914400" rtl="0" eaLnBrk="1" latinLnBrk="0" hangingPunct="1">
                        <a:buFontTx/>
                        <a:buNone/>
                      </a:pP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132519"/>
                  </a:ext>
                </a:extLst>
              </a:tr>
            </a:tbl>
          </a:graphicData>
        </a:graphic>
      </p:graphicFrame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Что у нас по метрикам с быстродействием и ресурсами?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AD080D31-7762-BC43-AB88-3438CDE2C304}"/>
              </a:ext>
            </a:extLst>
          </p:cNvPr>
          <p:cNvGrpSpPr/>
          <p:nvPr/>
        </p:nvGrpSpPr>
        <p:grpSpPr>
          <a:xfrm>
            <a:off x="356788" y="1439996"/>
            <a:ext cx="4335571" cy="3100856"/>
            <a:chOff x="4255731" y="2620177"/>
            <a:chExt cx="3358845" cy="2240500"/>
          </a:xfrm>
        </p:grpSpPr>
        <p:cxnSp>
          <p:nvCxnSpPr>
            <p:cNvPr id="3" name="Прямая со стрелкой 2">
              <a:extLst>
                <a:ext uri="{FF2B5EF4-FFF2-40B4-BE49-F238E27FC236}">
                  <a16:creationId xmlns:a16="http://schemas.microsoft.com/office/drawing/2014/main" id="{42203303-675C-A148-814E-DF6E92D092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36080" y="2620177"/>
              <a:ext cx="0" cy="1820807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Прямая со стрелкой 11">
              <a:extLst>
                <a:ext uri="{FF2B5EF4-FFF2-40B4-BE49-F238E27FC236}">
                  <a16:creationId xmlns:a16="http://schemas.microsoft.com/office/drawing/2014/main" id="{511D74CD-5740-564D-809D-E5364841E0B3}"/>
                </a:ext>
              </a:extLst>
            </p:cNvPr>
            <p:cNvCxnSpPr>
              <a:cxnSpLocks/>
            </p:cNvCxnSpPr>
            <p:nvPr/>
          </p:nvCxnSpPr>
          <p:spPr>
            <a:xfrm rot="7200000" flipV="1">
              <a:off x="6714576" y="3960677"/>
              <a:ext cx="0" cy="180000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Прямая со стрелкой 12">
              <a:extLst>
                <a:ext uri="{FF2B5EF4-FFF2-40B4-BE49-F238E27FC236}">
                  <a16:creationId xmlns:a16="http://schemas.microsoft.com/office/drawing/2014/main" id="{C1B986D6-4D01-8B47-A943-B8FDB0D5F57D}"/>
                </a:ext>
              </a:extLst>
            </p:cNvPr>
            <p:cNvCxnSpPr>
              <a:cxnSpLocks/>
            </p:cNvCxnSpPr>
            <p:nvPr/>
          </p:nvCxnSpPr>
          <p:spPr>
            <a:xfrm rot="14400000" flipH="1" flipV="1">
              <a:off x="5155731" y="3960677"/>
              <a:ext cx="0" cy="180000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E257647-AB7C-2649-B847-CAB81C9336C0}"/>
              </a:ext>
            </a:extLst>
          </p:cNvPr>
          <p:cNvSpPr txBox="1"/>
          <p:nvPr/>
        </p:nvSpPr>
        <p:spPr>
          <a:xfrm>
            <a:off x="2567348" y="1439996"/>
            <a:ext cx="22878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требление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есурсов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камер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Гб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PU*]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5CBB15-D743-6241-86F0-DBF50F70C648}"/>
              </a:ext>
            </a:extLst>
          </p:cNvPr>
          <p:cNvSpPr txBox="1"/>
          <p:nvPr/>
        </p:nvSpPr>
        <p:spPr>
          <a:xfrm>
            <a:off x="512428" y="5187333"/>
            <a:ext cx="29508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Быстродействие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икросервиса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змер батча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/ main loop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ек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~ FPS***]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9540B9-B06B-EC40-889F-74460C6AFDF7}"/>
              </a:ext>
            </a:extLst>
          </p:cNvPr>
          <p:cNvSpPr txBox="1"/>
          <p:nvPr/>
        </p:nvSpPr>
        <p:spPr>
          <a:xfrm>
            <a:off x="4536719" y="4465819"/>
            <a:ext cx="2323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очность и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лнота на «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old-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атасете»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[mAP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_0.5:0.95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2825C1-D3B1-4243-B22C-CF07D479BF19}"/>
              </a:ext>
            </a:extLst>
          </p:cNvPr>
          <p:cNvSpPr txBox="1"/>
          <p:nvPr/>
        </p:nvSpPr>
        <p:spPr>
          <a:xfrm>
            <a:off x="686297" y="4356186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84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endParaRPr lang="ru-RU" b="1" dirty="0">
              <a:solidFill>
                <a:srgbClr val="0084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34811E5B-D690-BF4E-957D-F21E5BBB8C25}"/>
              </a:ext>
            </a:extLst>
          </p:cNvPr>
          <p:cNvSpPr/>
          <p:nvPr/>
        </p:nvSpPr>
        <p:spPr>
          <a:xfrm>
            <a:off x="906870" y="4751683"/>
            <a:ext cx="180000" cy="180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43C"/>
              </a:solidFill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D52EBAD5-0436-334B-AB4E-B45668F70ED4}"/>
              </a:ext>
            </a:extLst>
          </p:cNvPr>
          <p:cNvSpPr/>
          <p:nvPr/>
        </p:nvSpPr>
        <p:spPr>
          <a:xfrm>
            <a:off x="2434573" y="2784349"/>
            <a:ext cx="180000" cy="180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43C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AD0AAA-7C8A-D14B-86B3-E7435495DF95}"/>
              </a:ext>
            </a:extLst>
          </p:cNvPr>
          <p:cNvSpPr txBox="1"/>
          <p:nvPr/>
        </p:nvSpPr>
        <p:spPr>
          <a:xfrm>
            <a:off x="1865418" y="2435645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5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9735D167-3EB2-6C49-90CB-1EBACC7BD83F}"/>
              </a:ext>
            </a:extLst>
          </p:cNvPr>
          <p:cNvSpPr/>
          <p:nvPr/>
        </p:nvSpPr>
        <p:spPr>
          <a:xfrm>
            <a:off x="3348384" y="4405759"/>
            <a:ext cx="180000" cy="180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43C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49D0FF3-226A-E44F-BAB3-454FD5C2C869}"/>
              </a:ext>
            </a:extLst>
          </p:cNvPr>
          <p:cNvSpPr txBox="1"/>
          <p:nvPr/>
        </p:nvSpPr>
        <p:spPr>
          <a:xfrm>
            <a:off x="3438384" y="4064573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75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4294ED48-4D96-534E-AAAD-761A624A863B}"/>
              </a:ext>
            </a:extLst>
          </p:cNvPr>
          <p:cNvCxnSpPr>
            <a:cxnSpLocks/>
            <a:stCxn id="26" idx="1"/>
            <a:endCxn id="22" idx="5"/>
          </p:cNvCxnSpPr>
          <p:nvPr/>
        </p:nvCxnSpPr>
        <p:spPr>
          <a:xfrm flipH="1" flipV="1">
            <a:off x="2588213" y="2937989"/>
            <a:ext cx="786531" cy="1494130"/>
          </a:xfrm>
          <a:prstGeom prst="line">
            <a:avLst/>
          </a:prstGeom>
          <a:ln w="28575" cap="rnd">
            <a:solidFill>
              <a:srgbClr val="92D05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61B21193-6BBD-DD49-8F45-F0A68EFFBF11}"/>
              </a:ext>
            </a:extLst>
          </p:cNvPr>
          <p:cNvCxnSpPr>
            <a:cxnSpLocks/>
            <a:stCxn id="22" idx="3"/>
            <a:endCxn id="19" idx="7"/>
          </p:cNvCxnSpPr>
          <p:nvPr/>
        </p:nvCxnSpPr>
        <p:spPr>
          <a:xfrm flipH="1">
            <a:off x="1060510" y="2937989"/>
            <a:ext cx="1400423" cy="1840054"/>
          </a:xfrm>
          <a:prstGeom prst="line">
            <a:avLst/>
          </a:prstGeom>
          <a:ln w="28575" cap="rnd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0">
                  <a:srgbClr val="92D050"/>
                </a:gs>
                <a:gs pos="100000">
                  <a:srgbClr val="00B050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DA42C324-C10C-1046-8324-5F8893E3F28E}"/>
              </a:ext>
            </a:extLst>
          </p:cNvPr>
          <p:cNvCxnSpPr>
            <a:cxnSpLocks/>
            <a:stCxn id="26" idx="3"/>
          </p:cNvCxnSpPr>
          <p:nvPr/>
        </p:nvCxnSpPr>
        <p:spPr>
          <a:xfrm flipH="1">
            <a:off x="1086870" y="4559399"/>
            <a:ext cx="2287874" cy="282284"/>
          </a:xfrm>
          <a:prstGeom prst="line">
            <a:avLst/>
          </a:prstGeom>
          <a:ln w="28575" cap="rnd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0">
                  <a:srgbClr val="92D050"/>
                </a:gs>
                <a:gs pos="100000">
                  <a:srgbClr val="00843C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7624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Номер слайда 3">
            <a:extLst>
              <a:ext uri="{FF2B5EF4-FFF2-40B4-BE49-F238E27FC236}">
                <a16:creationId xmlns:a16="http://schemas.microsoft.com/office/drawing/2014/main" id="{AAF1AED3-B7F5-4F9A-9B8A-D53A910F5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1756" y="6478160"/>
            <a:ext cx="2743200" cy="365125"/>
          </a:xfrm>
        </p:spPr>
        <p:txBody>
          <a:bodyPr/>
          <a:lstStyle/>
          <a:p>
            <a:pPr algn="ctr"/>
            <a:fld id="{CD071FC5-B3EC-4A2E-B4C7-79B5CD3EAC53}" type="slidenum">
              <a:rPr lang="ru-RU" sz="2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9</a:t>
            </a:fld>
            <a:endParaRPr lang="ru-RU" sz="2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2">
            <a:extLst>
              <a:ext uri="{FF2B5EF4-FFF2-40B4-BE49-F238E27FC236}">
                <a16:creationId xmlns:a16="http://schemas.microsoft.com/office/drawing/2014/main" id="{A6A16045-CDAD-425B-B3DA-714F4BC179FC}"/>
              </a:ext>
            </a:extLst>
          </p:cNvPr>
          <p:cNvSpPr txBox="1">
            <a:spLocks/>
          </p:cNvSpPr>
          <p:nvPr/>
        </p:nvSpPr>
        <p:spPr>
          <a:xfrm>
            <a:off x="356788" y="-1"/>
            <a:ext cx="11520000" cy="14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акие функции есть смысл прикрутить в решение?</a:t>
            </a:r>
          </a:p>
        </p:txBody>
      </p:sp>
      <p:graphicFrame>
        <p:nvGraphicFramePr>
          <p:cNvPr id="7" name="Таблица 11">
            <a:extLst>
              <a:ext uri="{FF2B5EF4-FFF2-40B4-BE49-F238E27FC236}">
                <a16:creationId xmlns:a16="http://schemas.microsoft.com/office/drawing/2014/main" id="{41AF4376-1E9B-EE48-9CAD-FF373E53C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115916"/>
              </p:ext>
            </p:extLst>
          </p:nvPr>
        </p:nvGraphicFramePr>
        <p:xfrm>
          <a:off x="356788" y="1439998"/>
          <a:ext cx="11478424" cy="5038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78424">
                  <a:extLst>
                    <a:ext uri="{9D8B030D-6E8A-4147-A177-3AD203B41FA5}">
                      <a16:colId xmlns:a16="http://schemas.microsoft.com/office/drawing/2014/main" val="4190024175"/>
                    </a:ext>
                  </a:extLst>
                </a:gridCol>
              </a:tblGrid>
              <a:tr h="50381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тобы покрыть основные хотелки от бизнеса собрали следующую функциональную схему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тобработка позволяет при заметно увеличить робастность модели с помощью трешхолда без </a:t>
                      </a: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фигурация параметров нужна используется для быстрой настройки под условия разных площадок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*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грузка видео позволяет получить данные для дообучения модели и большей информативности</a:t>
                      </a: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**</a:t>
                      </a:r>
                      <a:r>
                        <a:rPr lang="ru-RU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оме оповещения стоит дать сотрудникам звуковые и световые сигналы, для прозрачности</a:t>
                      </a:r>
                      <a:endParaRPr lang="en-US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0289563"/>
                  </a:ext>
                </a:extLst>
              </a:tr>
            </a:tbl>
          </a:graphicData>
        </a:graphic>
      </p:graphicFrame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6C47E761-6CE3-A04D-B209-315EC3F6668F}"/>
              </a:ext>
            </a:extLst>
          </p:cNvPr>
          <p:cNvSpPr/>
          <p:nvPr/>
        </p:nvSpPr>
        <p:spPr>
          <a:xfrm>
            <a:off x="7515210" y="2237854"/>
            <a:ext cx="1800000" cy="1080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бработка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ECE1FBEC-7C0E-194D-896F-F4366A55CB6C}"/>
              </a:ext>
            </a:extLst>
          </p:cNvPr>
          <p:cNvSpPr/>
          <p:nvPr/>
        </p:nvSpPr>
        <p:spPr>
          <a:xfrm>
            <a:off x="9813632" y="2237854"/>
            <a:ext cx="1800000" cy="10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седж и оповещалка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*</a:t>
            </a:r>
          </a:p>
        </p:txBody>
      </p:sp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A45EE28D-DDA1-9E46-854C-16B738B8B798}"/>
              </a:ext>
            </a:extLst>
          </p:cNvPr>
          <p:cNvCxnSpPr>
            <a:cxnSpLocks/>
            <a:stCxn id="2" idx="3"/>
            <a:endCxn id="6" idx="1"/>
          </p:cNvCxnSpPr>
          <p:nvPr/>
        </p:nvCxnSpPr>
        <p:spPr>
          <a:xfrm>
            <a:off x="9315210" y="2777854"/>
            <a:ext cx="498422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F8E70F54-634F-ED4B-9D95-DBF43A3AF4C3}"/>
              </a:ext>
            </a:extLst>
          </p:cNvPr>
          <p:cNvSpPr/>
          <p:nvPr/>
        </p:nvSpPr>
        <p:spPr>
          <a:xfrm>
            <a:off x="5216788" y="3857854"/>
            <a:ext cx="1800000" cy="1080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фигурация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метров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0E1C96B2-BB3A-EF47-8E2E-1C7BBB176CE6}"/>
              </a:ext>
            </a:extLst>
          </p:cNvPr>
          <p:cNvSpPr/>
          <p:nvPr/>
        </p:nvSpPr>
        <p:spPr>
          <a:xfrm>
            <a:off x="5216788" y="2237854"/>
            <a:ext cx="1800000" cy="1080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екция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ка</a:t>
            </a:r>
          </a:p>
        </p:txBody>
      </p:sp>
      <p:sp>
        <p:nvSpPr>
          <p:cNvPr id="18" name="Сохраненные данные 17">
            <a:extLst>
              <a:ext uri="{FF2B5EF4-FFF2-40B4-BE49-F238E27FC236}">
                <a16:creationId xmlns:a16="http://schemas.microsoft.com/office/drawing/2014/main" id="{2261115A-6D1F-0045-8003-EAA7554B3836}"/>
              </a:ext>
            </a:extLst>
          </p:cNvPr>
          <p:cNvSpPr/>
          <p:nvPr/>
        </p:nvSpPr>
        <p:spPr>
          <a:xfrm>
            <a:off x="2925206" y="2237853"/>
            <a:ext cx="1800000" cy="1080000"/>
          </a:xfrm>
          <a:prstGeom prst="flowChartOnlineStorag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113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батч</a:t>
            </a:r>
          </a:p>
          <a:p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отока</a:t>
            </a: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C7B74BDB-A546-544A-A060-C6F4552C8C6C}"/>
              </a:ext>
            </a:extLst>
          </p:cNvPr>
          <p:cNvSpPr/>
          <p:nvPr/>
        </p:nvSpPr>
        <p:spPr>
          <a:xfrm>
            <a:off x="8664421" y="3857854"/>
            <a:ext cx="1800000" cy="1080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грузка видео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D93FC37C-00A3-404B-B662-0A2CB043639A}"/>
              </a:ext>
            </a:extLst>
          </p:cNvPr>
          <p:cNvCxnSpPr>
            <a:cxnSpLocks/>
            <a:stCxn id="15" idx="0"/>
            <a:endCxn id="2" idx="2"/>
          </p:cNvCxnSpPr>
          <p:nvPr/>
        </p:nvCxnSpPr>
        <p:spPr>
          <a:xfrm rot="5400000" flipH="1" flipV="1">
            <a:off x="6995999" y="2438643"/>
            <a:ext cx="540000" cy="2298422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8FB59B5A-1640-324E-9294-93714729D13E}"/>
              </a:ext>
            </a:extLst>
          </p:cNvPr>
          <p:cNvCxnSpPr>
            <a:cxnSpLocks/>
            <a:stCxn id="19" idx="3"/>
            <a:endCxn id="2" idx="1"/>
          </p:cNvCxnSpPr>
          <p:nvPr/>
        </p:nvCxnSpPr>
        <p:spPr>
          <a:xfrm>
            <a:off x="7016788" y="2777854"/>
            <a:ext cx="498422" cy="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Соединительная линия уступом 40">
            <a:extLst>
              <a:ext uri="{FF2B5EF4-FFF2-40B4-BE49-F238E27FC236}">
                <a16:creationId xmlns:a16="http://schemas.microsoft.com/office/drawing/2014/main" id="{35E3A95E-0E1C-0E4E-B405-5A4517D4010E}"/>
              </a:ext>
            </a:extLst>
          </p:cNvPr>
          <p:cNvCxnSpPr>
            <a:cxnSpLocks/>
            <a:stCxn id="2" idx="2"/>
            <a:endCxn id="23" idx="0"/>
          </p:cNvCxnSpPr>
          <p:nvPr/>
        </p:nvCxnSpPr>
        <p:spPr>
          <a:xfrm rot="16200000" flipH="1">
            <a:off x="8719815" y="3013248"/>
            <a:ext cx="540000" cy="1149211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A6505675-D0E0-DA4E-B665-617C3DAC9AE9}"/>
              </a:ext>
            </a:extLst>
          </p:cNvPr>
          <p:cNvCxnSpPr>
            <a:cxnSpLocks/>
            <a:stCxn id="55" idx="2"/>
          </p:cNvCxnSpPr>
          <p:nvPr/>
        </p:nvCxnSpPr>
        <p:spPr>
          <a:xfrm>
            <a:off x="2298624" y="2777853"/>
            <a:ext cx="626582" cy="0"/>
          </a:xfrm>
          <a:prstGeom prst="straightConnector1">
            <a:avLst/>
          </a:prstGeom>
          <a:ln w="381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араллелограмм 54">
            <a:extLst>
              <a:ext uri="{FF2B5EF4-FFF2-40B4-BE49-F238E27FC236}">
                <a16:creationId xmlns:a16="http://schemas.microsoft.com/office/drawing/2014/main" id="{AE7652EB-C28D-E44E-9310-7A73B7AEB9EC}"/>
              </a:ext>
            </a:extLst>
          </p:cNvPr>
          <p:cNvSpPr/>
          <p:nvPr/>
        </p:nvSpPr>
        <p:spPr>
          <a:xfrm>
            <a:off x="633624" y="2237853"/>
            <a:ext cx="1800000" cy="1080000"/>
          </a:xfrm>
          <a:prstGeom prst="parallelogram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ок видео</a:t>
            </a:r>
          </a:p>
        </p:txBody>
      </p:sp>
      <p:cxnSp>
        <p:nvCxnSpPr>
          <p:cNvPr id="71" name="Прямая со стрелкой 70">
            <a:extLst>
              <a:ext uri="{FF2B5EF4-FFF2-40B4-BE49-F238E27FC236}">
                <a16:creationId xmlns:a16="http://schemas.microsoft.com/office/drawing/2014/main" id="{0FE98B93-B5FE-3D47-94A0-F1804C59B5BB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4425206" y="2777853"/>
            <a:ext cx="791582" cy="1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74">
            <a:extLst>
              <a:ext uri="{FF2B5EF4-FFF2-40B4-BE49-F238E27FC236}">
                <a16:creationId xmlns:a16="http://schemas.microsoft.com/office/drawing/2014/main" id="{7DE4FCC1-815D-3349-BFCC-F957F46CD28C}"/>
              </a:ext>
            </a:extLst>
          </p:cNvPr>
          <p:cNvCxnSpPr>
            <a:cxnSpLocks/>
            <a:stCxn id="15" idx="0"/>
            <a:endCxn id="18" idx="2"/>
          </p:cNvCxnSpPr>
          <p:nvPr/>
        </p:nvCxnSpPr>
        <p:spPr>
          <a:xfrm rot="16200000" flipV="1">
            <a:off x="4700997" y="2442063"/>
            <a:ext cx="540001" cy="2291582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>
            <a:extLst>
              <a:ext uri="{FF2B5EF4-FFF2-40B4-BE49-F238E27FC236}">
                <a16:creationId xmlns:a16="http://schemas.microsoft.com/office/drawing/2014/main" id="{B95FCFE1-22C1-A940-9D5F-A70E044A90F4}"/>
              </a:ext>
            </a:extLst>
          </p:cNvPr>
          <p:cNvCxnSpPr>
            <a:stCxn id="15" idx="0"/>
            <a:endCxn id="19" idx="2"/>
          </p:cNvCxnSpPr>
          <p:nvPr/>
        </p:nvCxnSpPr>
        <p:spPr>
          <a:xfrm flipV="1">
            <a:off x="6116788" y="3317854"/>
            <a:ext cx="0" cy="540000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15716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tWeceTLZp4eIKodb24Cw"/>
</p:tagLst>
</file>

<file path=ppt/theme/theme1.xml><?xml version="1.0" encoding="utf-8"?>
<a:theme xmlns:a="http://schemas.openxmlformats.org/drawingml/2006/main" name="Тема Offic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00B050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6247750-F375-4534-A080-2BFED034B546}">
  <we:reference id="wa104381063" version="1.0.0.1" store="ru-RU" storeType="OMEX"/>
  <we:alternateReferences>
    <we:reference id="wa104381063" version="1.0.0.1" store="ru-RU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20795</TotalTime>
  <Words>536</Words>
  <Application>Microsoft Macintosh PowerPoint</Application>
  <PresentationFormat>Широкоэкранный</PresentationFormat>
  <Paragraphs>189</Paragraphs>
  <Slides>11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Arial</vt:lpstr>
      <vt:lpstr>Calibri</vt:lpstr>
      <vt:lpstr>Calibri Light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 Larin</dc:creator>
  <cp:lastModifiedBy>Лапин Дмитрий Владимирович</cp:lastModifiedBy>
  <cp:revision>1756</cp:revision>
  <cp:lastPrinted>2021-04-28T16:15:19Z</cp:lastPrinted>
  <dcterms:created xsi:type="dcterms:W3CDTF">2019-08-08T10:25:09Z</dcterms:created>
  <dcterms:modified xsi:type="dcterms:W3CDTF">2021-10-31T06:00:42Z</dcterms:modified>
</cp:coreProperties>
</file>